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tags/tag7.xml" ContentType="application/vnd.openxmlformats-officedocument.presentationml.tags+xml"/>
  <Override PartName="/ppt/notesSlides/notesSlide2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8.xml" ContentType="application/vnd.openxmlformats-officedocument.presentationml.tags+xml"/>
  <Override PartName="/ppt/notesSlides/notesSlide2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9.xml" ContentType="application/vnd.openxmlformats-officedocument.presentationml.tags+xml"/>
  <Override PartName="/ppt/notesSlides/notesSlide2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8.xml" ContentType="application/vnd.openxmlformats-officedocument.presentationml.notesSlide+xml"/>
  <Override PartName="/ppt/tags/tag1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11.xml" ContentType="application/vnd.openxmlformats-officedocument.presentationml.tags+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49"/>
  </p:notesMasterIdLst>
  <p:sldIdLst>
    <p:sldId id="256" r:id="rId4"/>
    <p:sldId id="276" r:id="rId5"/>
    <p:sldId id="677" r:id="rId6"/>
    <p:sldId id="672" r:id="rId7"/>
    <p:sldId id="282" r:id="rId8"/>
    <p:sldId id="696" r:id="rId9"/>
    <p:sldId id="261" r:id="rId10"/>
    <p:sldId id="263" r:id="rId11"/>
    <p:sldId id="751" r:id="rId12"/>
    <p:sldId id="773" r:id="rId13"/>
    <p:sldId id="776" r:id="rId14"/>
    <p:sldId id="774" r:id="rId15"/>
    <p:sldId id="775" r:id="rId16"/>
    <p:sldId id="772" r:id="rId17"/>
    <p:sldId id="777" r:id="rId18"/>
    <p:sldId id="286" r:id="rId19"/>
    <p:sldId id="778" r:id="rId20"/>
    <p:sldId id="779" r:id="rId21"/>
    <p:sldId id="780" r:id="rId22"/>
    <p:sldId id="781" r:id="rId23"/>
    <p:sldId id="667" r:id="rId24"/>
    <p:sldId id="285" r:id="rId25"/>
    <p:sldId id="771" r:id="rId26"/>
    <p:sldId id="741" r:id="rId27"/>
    <p:sldId id="784" r:id="rId28"/>
    <p:sldId id="786" r:id="rId29"/>
    <p:sldId id="783" r:id="rId30"/>
    <p:sldId id="785" r:id="rId31"/>
    <p:sldId id="787" r:id="rId32"/>
    <p:sldId id="788" r:id="rId33"/>
    <p:sldId id="789" r:id="rId34"/>
    <p:sldId id="746" r:id="rId35"/>
    <p:sldId id="792" r:id="rId36"/>
    <p:sldId id="720" r:id="rId37"/>
    <p:sldId id="760" r:id="rId38"/>
    <p:sldId id="761" r:id="rId39"/>
    <p:sldId id="753" r:id="rId40"/>
    <p:sldId id="793" r:id="rId41"/>
    <p:sldId id="795" r:id="rId42"/>
    <p:sldId id="796" r:id="rId43"/>
    <p:sldId id="797" r:id="rId44"/>
    <p:sldId id="798" r:id="rId45"/>
    <p:sldId id="799" r:id="rId46"/>
    <p:sldId id="800" r:id="rId47"/>
    <p:sldId id="791" r:id="rId4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gidadmin" initials="c" lastIdx="1" clrIdx="0">
    <p:extLst>
      <p:ext uri="{19B8F6BF-5375-455C-9EA6-DF929625EA0E}">
        <p15:presenceInfo xmlns:p15="http://schemas.microsoft.com/office/powerpoint/2012/main" userId="cegidadmin" providerId="None"/>
      </p:ext>
    </p:extLst>
  </p:cmAuthor>
  <p:cmAuthor id="2" name="christophe CHUECOS-FONT" initials="cCF" lastIdx="1" clrIdx="1">
    <p:extLst>
      <p:ext uri="{19B8F6BF-5375-455C-9EA6-DF929625EA0E}">
        <p15:presenceInfo xmlns:p15="http://schemas.microsoft.com/office/powerpoint/2012/main" userId="christophe CHUECOS-FO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E3BE12-C07A-444A-8793-83B43DDD5D85}" v="1165" dt="2021-02-26T13:17:51.752"/>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86" d="100"/>
          <a:sy n="86" d="100"/>
        </p:scale>
        <p:origin x="470"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theme" Target="theme/theme1.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microsoft.com/office/2015/10/relationships/revisionInfo" Target="revisionInfo.xml"/><Relationship Id="rId8" Type="http://schemas.openxmlformats.org/officeDocument/2006/relationships/slide" Target="slides/slide5.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ophe CHUECOS-FONT" userId="7e57acaa-4bc6-4644-8edc-0ecdded28594" providerId="ADAL" clId="{E0E3BE12-C07A-444A-8793-83B43DDD5D85}"/>
    <pc:docChg chg="undo custSel addSld delSld modSld sldOrd">
      <pc:chgData name="christophe CHUECOS-FONT" userId="7e57acaa-4bc6-4644-8edc-0ecdded28594" providerId="ADAL" clId="{E0E3BE12-C07A-444A-8793-83B43DDD5D85}" dt="2021-02-26T13:17:51.751" v="3388" actId="20577"/>
      <pc:docMkLst>
        <pc:docMk/>
      </pc:docMkLst>
      <pc:sldChg chg="modSp mod">
        <pc:chgData name="christophe CHUECOS-FONT" userId="7e57acaa-4bc6-4644-8edc-0ecdded28594" providerId="ADAL" clId="{E0E3BE12-C07A-444A-8793-83B43DDD5D85}" dt="2021-02-23T16:50:03.002" v="43" actId="20577"/>
        <pc:sldMkLst>
          <pc:docMk/>
          <pc:sldMk cId="3848639155" sldId="256"/>
        </pc:sldMkLst>
        <pc:spChg chg="mod">
          <ac:chgData name="christophe CHUECOS-FONT" userId="7e57acaa-4bc6-4644-8edc-0ecdded28594" providerId="ADAL" clId="{E0E3BE12-C07A-444A-8793-83B43DDD5D85}" dt="2021-02-23T16:50:03.002" v="43" actId="20577"/>
          <ac:spMkLst>
            <pc:docMk/>
            <pc:sldMk cId="3848639155" sldId="256"/>
            <ac:spMk id="3" creationId="{21349F9F-31B4-41DC-B4DB-C097467B5266}"/>
          </ac:spMkLst>
        </pc:spChg>
      </pc:sldChg>
      <pc:sldChg chg="del">
        <pc:chgData name="christophe CHUECOS-FONT" userId="7e57acaa-4bc6-4644-8edc-0ecdded28594" providerId="ADAL" clId="{E0E3BE12-C07A-444A-8793-83B43DDD5D85}" dt="2021-02-23T17:26:08.880" v="44" actId="47"/>
        <pc:sldMkLst>
          <pc:docMk/>
          <pc:sldMk cId="3714222650" sldId="259"/>
        </pc:sldMkLst>
      </pc:sldChg>
      <pc:sldChg chg="addSp delSp modSp mod">
        <pc:chgData name="christophe CHUECOS-FONT" userId="7e57acaa-4bc6-4644-8edc-0ecdded28594" providerId="ADAL" clId="{E0E3BE12-C07A-444A-8793-83B43DDD5D85}" dt="2021-02-26T07:31:56.336" v="963" actId="20577"/>
        <pc:sldMkLst>
          <pc:docMk/>
          <pc:sldMk cId="3509003486" sldId="263"/>
        </pc:sldMkLst>
        <pc:spChg chg="mod">
          <ac:chgData name="christophe CHUECOS-FONT" userId="7e57acaa-4bc6-4644-8edc-0ecdded28594" providerId="ADAL" clId="{E0E3BE12-C07A-444A-8793-83B43DDD5D85}" dt="2021-02-26T07:31:56.336" v="963" actId="20577"/>
          <ac:spMkLst>
            <pc:docMk/>
            <pc:sldMk cId="3509003486" sldId="263"/>
            <ac:spMk id="2" creationId="{02517F6E-26E9-44E8-815E-774552D95FD0}"/>
          </ac:spMkLst>
        </pc:spChg>
        <pc:spChg chg="del">
          <ac:chgData name="christophe CHUECOS-FONT" userId="7e57acaa-4bc6-4644-8edc-0ecdded28594" providerId="ADAL" clId="{E0E3BE12-C07A-444A-8793-83B43DDD5D85}" dt="2021-02-24T17:26:05.202" v="457" actId="26606"/>
          <ac:spMkLst>
            <pc:docMk/>
            <pc:sldMk cId="3509003486" sldId="263"/>
            <ac:spMk id="21" creationId="{4351DFE5-F63D-4BE0-BDA9-E3EB88F01AA5}"/>
          </ac:spMkLst>
        </pc:spChg>
        <pc:spChg chg="del">
          <ac:chgData name="christophe CHUECOS-FONT" userId="7e57acaa-4bc6-4644-8edc-0ecdded28594" providerId="ADAL" clId="{E0E3BE12-C07A-444A-8793-83B43DDD5D85}" dt="2021-02-24T17:26:05.202" v="457" actId="26606"/>
          <ac:spMkLst>
            <pc:docMk/>
            <pc:sldMk cId="3509003486" sldId="263"/>
            <ac:spMk id="23" creationId="{61BA051E-0D20-4CC3-9958-C0CFDE297C40}"/>
          </ac:spMkLst>
        </pc:spChg>
        <pc:spChg chg="add">
          <ac:chgData name="christophe CHUECOS-FONT" userId="7e57acaa-4bc6-4644-8edc-0ecdded28594" providerId="ADAL" clId="{E0E3BE12-C07A-444A-8793-83B43DDD5D85}" dt="2021-02-24T17:26:05.202" v="457" actId="26606"/>
          <ac:spMkLst>
            <pc:docMk/>
            <pc:sldMk cId="3509003486" sldId="263"/>
            <ac:spMk id="29" creationId="{1D63C574-BFD2-41A1-A567-B0C3CC7FDD4F}"/>
          </ac:spMkLst>
        </pc:spChg>
        <pc:spChg chg="add">
          <ac:chgData name="christophe CHUECOS-FONT" userId="7e57acaa-4bc6-4644-8edc-0ecdded28594" providerId="ADAL" clId="{E0E3BE12-C07A-444A-8793-83B43DDD5D85}" dt="2021-02-24T17:26:05.202" v="457" actId="26606"/>
          <ac:spMkLst>
            <pc:docMk/>
            <pc:sldMk cId="3509003486" sldId="263"/>
            <ac:spMk id="31" creationId="{E2A46BAB-8C31-42B2-90E8-B26DD3E81D37}"/>
          </ac:spMkLst>
        </pc:spChg>
        <pc:grpChg chg="add">
          <ac:chgData name="christophe CHUECOS-FONT" userId="7e57acaa-4bc6-4644-8edc-0ecdded28594" providerId="ADAL" clId="{E0E3BE12-C07A-444A-8793-83B43DDD5D85}" dt="2021-02-24T17:26:05.202" v="457" actId="26606"/>
          <ac:grpSpMkLst>
            <pc:docMk/>
            <pc:sldMk cId="3509003486" sldId="263"/>
            <ac:grpSpMk id="33" creationId="{B3F7A3C7-0737-4E57-B30E-8EEFE638B401}"/>
          </ac:grpSpMkLst>
        </pc:grpChg>
        <pc:grpChg chg="add">
          <ac:chgData name="christophe CHUECOS-FONT" userId="7e57acaa-4bc6-4644-8edc-0ecdded28594" providerId="ADAL" clId="{E0E3BE12-C07A-444A-8793-83B43DDD5D85}" dt="2021-02-24T17:26:05.202" v="457" actId="26606"/>
          <ac:grpSpMkLst>
            <pc:docMk/>
            <pc:sldMk cId="3509003486" sldId="263"/>
            <ac:grpSpMk id="37" creationId="{43F5E015-E085-4624-B431-B42414448684}"/>
          </ac:grpSpMkLst>
        </pc:grpChg>
        <pc:graphicFrameChg chg="add mod">
          <ac:chgData name="christophe CHUECOS-FONT" userId="7e57acaa-4bc6-4644-8edc-0ecdded28594" providerId="ADAL" clId="{E0E3BE12-C07A-444A-8793-83B43DDD5D85}" dt="2021-02-24T17:43:22.973" v="542" actId="20577"/>
          <ac:graphicFrameMkLst>
            <pc:docMk/>
            <pc:sldMk cId="3509003486" sldId="263"/>
            <ac:graphicFrameMk id="25" creationId="{11DA98FA-EC79-439B-A908-FC5C8F4402CC}"/>
          </ac:graphicFrameMkLst>
        </pc:graphicFrameChg>
        <pc:picChg chg="del">
          <ac:chgData name="christophe CHUECOS-FONT" userId="7e57acaa-4bc6-4644-8edc-0ecdded28594" providerId="ADAL" clId="{E0E3BE12-C07A-444A-8793-83B43DDD5D85}" dt="2021-02-24T17:26:05.202" v="457" actId="26606"/>
          <ac:picMkLst>
            <pc:docMk/>
            <pc:sldMk cId="3509003486" sldId="263"/>
            <ac:picMk id="22" creationId="{3AA16612-ACD2-4A16-8F2B-4514FD6BF28F}"/>
          </ac:picMkLst>
        </pc:picChg>
      </pc:sldChg>
      <pc:sldChg chg="modSp mod">
        <pc:chgData name="christophe CHUECOS-FONT" userId="7e57acaa-4bc6-4644-8edc-0ecdded28594" providerId="ADAL" clId="{E0E3BE12-C07A-444A-8793-83B43DDD5D85}" dt="2021-02-24T17:00:45.260" v="112" actId="20577"/>
        <pc:sldMkLst>
          <pc:docMk/>
          <pc:sldMk cId="251691404" sldId="276"/>
        </pc:sldMkLst>
        <pc:graphicFrameChg chg="modGraphic">
          <ac:chgData name="christophe CHUECOS-FONT" userId="7e57acaa-4bc6-4644-8edc-0ecdded28594" providerId="ADAL" clId="{E0E3BE12-C07A-444A-8793-83B43DDD5D85}" dt="2021-02-24T17:00:45.260" v="112" actId="20577"/>
          <ac:graphicFrameMkLst>
            <pc:docMk/>
            <pc:sldMk cId="251691404" sldId="276"/>
            <ac:graphicFrameMk id="3" creationId="{90A39BD7-E179-4570-8079-E6A295B49267}"/>
          </ac:graphicFrameMkLst>
        </pc:graphicFrameChg>
      </pc:sldChg>
      <pc:sldChg chg="modSp mod ord">
        <pc:chgData name="christophe CHUECOS-FONT" userId="7e57acaa-4bc6-4644-8edc-0ecdded28594" providerId="ADAL" clId="{E0E3BE12-C07A-444A-8793-83B43DDD5D85}" dt="2021-02-24T17:57:02.972" v="907" actId="255"/>
        <pc:sldMkLst>
          <pc:docMk/>
          <pc:sldMk cId="3185261458" sldId="285"/>
        </pc:sldMkLst>
        <pc:spChg chg="mod">
          <ac:chgData name="christophe CHUECOS-FONT" userId="7e57acaa-4bc6-4644-8edc-0ecdded28594" providerId="ADAL" clId="{E0E3BE12-C07A-444A-8793-83B43DDD5D85}" dt="2021-02-24T17:55:57.725" v="803" actId="20577"/>
          <ac:spMkLst>
            <pc:docMk/>
            <pc:sldMk cId="3185261458" sldId="285"/>
            <ac:spMk id="2" creationId="{00000000-0000-0000-0000-000000000000}"/>
          </ac:spMkLst>
        </pc:spChg>
        <pc:spChg chg="mod">
          <ac:chgData name="christophe CHUECOS-FONT" userId="7e57acaa-4bc6-4644-8edc-0ecdded28594" providerId="ADAL" clId="{E0E3BE12-C07A-444A-8793-83B43DDD5D85}" dt="2021-02-24T17:57:02.972" v="907" actId="255"/>
          <ac:spMkLst>
            <pc:docMk/>
            <pc:sldMk cId="3185261458" sldId="285"/>
            <ac:spMk id="10" creationId="{2104DD9E-7F53-465D-8561-41BB61362ACA}"/>
          </ac:spMkLst>
        </pc:spChg>
      </pc:sldChg>
      <pc:sldChg chg="delSp modSp mod ord">
        <pc:chgData name="christophe CHUECOS-FONT" userId="7e57acaa-4bc6-4644-8edc-0ecdded28594" providerId="ADAL" clId="{E0E3BE12-C07A-444A-8793-83B43DDD5D85}" dt="2021-02-24T17:50:52.642" v="615" actId="27636"/>
        <pc:sldMkLst>
          <pc:docMk/>
          <pc:sldMk cId="329831576" sldId="286"/>
        </pc:sldMkLst>
        <pc:spChg chg="mod">
          <ac:chgData name="christophe CHUECOS-FONT" userId="7e57acaa-4bc6-4644-8edc-0ecdded28594" providerId="ADAL" clId="{E0E3BE12-C07A-444A-8793-83B43DDD5D85}" dt="2021-02-24T17:50:32.197" v="611" actId="14100"/>
          <ac:spMkLst>
            <pc:docMk/>
            <pc:sldMk cId="329831576" sldId="286"/>
            <ac:spMk id="2" creationId="{EF4842FF-7B87-4819-9D9E-8FAB225F796F}"/>
          </ac:spMkLst>
        </pc:spChg>
        <pc:spChg chg="mod">
          <ac:chgData name="christophe CHUECOS-FONT" userId="7e57acaa-4bc6-4644-8edc-0ecdded28594" providerId="ADAL" clId="{E0E3BE12-C07A-444A-8793-83B43DDD5D85}" dt="2021-02-24T17:50:52.642" v="615" actId="27636"/>
          <ac:spMkLst>
            <pc:docMk/>
            <pc:sldMk cId="329831576" sldId="286"/>
            <ac:spMk id="3" creationId="{AE031ED6-BBEB-4F69-BB03-35ED79344BB4}"/>
          </ac:spMkLst>
        </pc:spChg>
        <pc:graphicFrameChg chg="del">
          <ac:chgData name="christophe CHUECOS-FONT" userId="7e57acaa-4bc6-4644-8edc-0ecdded28594" providerId="ADAL" clId="{E0E3BE12-C07A-444A-8793-83B43DDD5D85}" dt="2021-02-24T17:48:44.039" v="590" actId="21"/>
          <ac:graphicFrameMkLst>
            <pc:docMk/>
            <pc:sldMk cId="329831576" sldId="286"/>
            <ac:graphicFrameMk id="4" creationId="{488D6A1A-BF89-4D2E-88D9-A81243FEE2E3}"/>
          </ac:graphicFrameMkLst>
        </pc:graphicFrameChg>
      </pc:sldChg>
      <pc:sldChg chg="del">
        <pc:chgData name="christophe CHUECOS-FONT" userId="7e57acaa-4bc6-4644-8edc-0ecdded28594" providerId="ADAL" clId="{E0E3BE12-C07A-444A-8793-83B43DDD5D85}" dt="2021-02-24T17:55:46.783" v="794" actId="47"/>
        <pc:sldMkLst>
          <pc:docMk/>
          <pc:sldMk cId="3774762694" sldId="378"/>
        </pc:sldMkLst>
      </pc:sldChg>
      <pc:sldChg chg="ord">
        <pc:chgData name="christophe CHUECOS-FONT" userId="7e57acaa-4bc6-4644-8edc-0ecdded28594" providerId="ADAL" clId="{E0E3BE12-C07A-444A-8793-83B43DDD5D85}" dt="2021-02-24T17:54:57.107" v="777"/>
        <pc:sldMkLst>
          <pc:docMk/>
          <pc:sldMk cId="966349221" sldId="667"/>
        </pc:sldMkLst>
      </pc:sldChg>
      <pc:sldChg chg="modSp mod ord">
        <pc:chgData name="christophe CHUECOS-FONT" userId="7e57acaa-4bc6-4644-8edc-0ecdded28594" providerId="ADAL" clId="{E0E3BE12-C07A-444A-8793-83B43DDD5D85}" dt="2021-02-24T17:19:48.577" v="317"/>
        <pc:sldMkLst>
          <pc:docMk/>
          <pc:sldMk cId="649958680" sldId="672"/>
        </pc:sldMkLst>
        <pc:spChg chg="mod">
          <ac:chgData name="christophe CHUECOS-FONT" userId="7e57acaa-4bc6-4644-8edc-0ecdded28594" providerId="ADAL" clId="{E0E3BE12-C07A-444A-8793-83B43DDD5D85}" dt="2021-02-24T17:19:34.883" v="315" actId="20577"/>
          <ac:spMkLst>
            <pc:docMk/>
            <pc:sldMk cId="649958680" sldId="672"/>
            <ac:spMk id="2" creationId="{55455007-8AF7-4CFF-8B0D-381E697B6724}"/>
          </ac:spMkLst>
        </pc:spChg>
        <pc:graphicFrameChg chg="mod">
          <ac:chgData name="christophe CHUECOS-FONT" userId="7e57acaa-4bc6-4644-8edc-0ecdded28594" providerId="ADAL" clId="{E0E3BE12-C07A-444A-8793-83B43DDD5D85}" dt="2021-02-24T17:19:21.983" v="292" actId="20577"/>
          <ac:graphicFrameMkLst>
            <pc:docMk/>
            <pc:sldMk cId="649958680" sldId="672"/>
            <ac:graphicFrameMk id="5" creationId="{0C899C7D-CFDA-4D32-B2E9-07B40C3BB1B2}"/>
          </ac:graphicFrameMkLst>
        </pc:graphicFrameChg>
      </pc:sldChg>
      <pc:sldChg chg="addSp delSp modSp mod setBg setClrOvrMap">
        <pc:chgData name="christophe CHUECOS-FONT" userId="7e57acaa-4bc6-4644-8edc-0ecdded28594" providerId="ADAL" clId="{E0E3BE12-C07A-444A-8793-83B43DDD5D85}" dt="2021-02-24T17:01:20.351" v="118" actId="20577"/>
        <pc:sldMkLst>
          <pc:docMk/>
          <pc:sldMk cId="3843576302" sldId="677"/>
        </pc:sldMkLst>
        <pc:spChg chg="mod">
          <ac:chgData name="christophe CHUECOS-FONT" userId="7e57acaa-4bc6-4644-8edc-0ecdded28594" providerId="ADAL" clId="{E0E3BE12-C07A-444A-8793-83B43DDD5D85}" dt="2021-02-24T17:01:20.351" v="118" actId="20577"/>
          <ac:spMkLst>
            <pc:docMk/>
            <pc:sldMk cId="3843576302" sldId="677"/>
            <ac:spMk id="2" creationId="{02517F6E-26E9-44E8-815E-774552D95FD0}"/>
          </ac:spMkLst>
        </pc:spChg>
        <pc:spChg chg="mod">
          <ac:chgData name="christophe CHUECOS-FONT" userId="7e57acaa-4bc6-4644-8edc-0ecdded28594" providerId="ADAL" clId="{E0E3BE12-C07A-444A-8793-83B43DDD5D85}" dt="2021-02-24T17:01:13.023" v="116" actId="26606"/>
          <ac:spMkLst>
            <pc:docMk/>
            <pc:sldMk cId="3843576302" sldId="677"/>
            <ac:spMk id="3" creationId="{79900381-058A-49D1-91B1-63D7DD95F910}"/>
          </ac:spMkLst>
        </pc:spChg>
        <pc:spChg chg="del">
          <ac:chgData name="christophe CHUECOS-FONT" userId="7e57acaa-4bc6-4644-8edc-0ecdded28594" providerId="ADAL" clId="{E0E3BE12-C07A-444A-8793-83B43DDD5D85}" dt="2021-02-24T17:01:13.023" v="116" actId="26606"/>
          <ac:spMkLst>
            <pc:docMk/>
            <pc:sldMk cId="3843576302" sldId="677"/>
            <ac:spMk id="28" creationId="{1BB867FF-FC45-48F7-8104-F89BE54909F1}"/>
          </ac:spMkLst>
        </pc:spChg>
        <pc:spChg chg="del">
          <ac:chgData name="christophe CHUECOS-FONT" userId="7e57acaa-4bc6-4644-8edc-0ecdded28594" providerId="ADAL" clId="{E0E3BE12-C07A-444A-8793-83B43DDD5D85}" dt="2021-02-24T17:01:13.023" v="116" actId="26606"/>
          <ac:spMkLst>
            <pc:docMk/>
            <pc:sldMk cId="3843576302" sldId="677"/>
            <ac:spMk id="30" creationId="{8BB56887-D0D5-4F0C-9E19-7247EB83C8B7}"/>
          </ac:spMkLst>
        </pc:spChg>
        <pc:spChg chg="del">
          <ac:chgData name="christophe CHUECOS-FONT" userId="7e57acaa-4bc6-4644-8edc-0ecdded28594" providerId="ADAL" clId="{E0E3BE12-C07A-444A-8793-83B43DDD5D85}" dt="2021-02-24T17:01:13.023" v="116" actId="26606"/>
          <ac:spMkLst>
            <pc:docMk/>
            <pc:sldMk cId="3843576302" sldId="677"/>
            <ac:spMk id="34" creationId="{081E4A58-353D-44AE-B2FC-2A74E2E400F7}"/>
          </ac:spMkLst>
        </pc:spChg>
        <pc:spChg chg="add">
          <ac:chgData name="christophe CHUECOS-FONT" userId="7e57acaa-4bc6-4644-8edc-0ecdded28594" providerId="ADAL" clId="{E0E3BE12-C07A-444A-8793-83B43DDD5D85}" dt="2021-02-24T17:01:13.023" v="116" actId="26606"/>
          <ac:spMkLst>
            <pc:docMk/>
            <pc:sldMk cId="3843576302" sldId="677"/>
            <ac:spMk id="40" creationId="{E49CC64F-7275-4E33-961B-0C5CDC439875}"/>
          </ac:spMkLst>
        </pc:spChg>
        <pc:picChg chg="add">
          <ac:chgData name="christophe CHUECOS-FONT" userId="7e57acaa-4bc6-4644-8edc-0ecdded28594" providerId="ADAL" clId="{E0E3BE12-C07A-444A-8793-83B43DDD5D85}" dt="2021-02-24T17:01:13.023" v="116" actId="26606"/>
          <ac:picMkLst>
            <pc:docMk/>
            <pc:sldMk cId="3843576302" sldId="677"/>
            <ac:picMk id="36" creationId="{E19A54F0-B20E-4F8C-9128-4269DFE89C53}"/>
          </ac:picMkLst>
        </pc:picChg>
      </pc:sldChg>
      <pc:sldChg chg="modSp ord">
        <pc:chgData name="christophe CHUECOS-FONT" userId="7e57acaa-4bc6-4644-8edc-0ecdded28594" providerId="ADAL" clId="{E0E3BE12-C07A-444A-8793-83B43DDD5D85}" dt="2021-02-24T17:22:19.240" v="455" actId="14100"/>
        <pc:sldMkLst>
          <pc:docMk/>
          <pc:sldMk cId="2860654540" sldId="696"/>
        </pc:sldMkLst>
        <pc:graphicFrameChg chg="mod">
          <ac:chgData name="christophe CHUECOS-FONT" userId="7e57acaa-4bc6-4644-8edc-0ecdded28594" providerId="ADAL" clId="{E0E3BE12-C07A-444A-8793-83B43DDD5D85}" dt="2021-02-24T17:22:19.240" v="455" actId="14100"/>
          <ac:graphicFrameMkLst>
            <pc:docMk/>
            <pc:sldMk cId="2860654540" sldId="696"/>
            <ac:graphicFrameMk id="6" creationId="{4A6E514C-D3C4-4B29-BB5C-DB98C7CA5742}"/>
          </ac:graphicFrameMkLst>
        </pc:graphicFrameChg>
      </pc:sldChg>
      <pc:sldChg chg="del">
        <pc:chgData name="christophe CHUECOS-FONT" userId="7e57acaa-4bc6-4644-8edc-0ecdded28594" providerId="ADAL" clId="{E0E3BE12-C07A-444A-8793-83B43DDD5D85}" dt="2021-02-24T17:57:12.074" v="910" actId="47"/>
        <pc:sldMkLst>
          <pc:docMk/>
          <pc:sldMk cId="2474754196" sldId="701"/>
        </pc:sldMkLst>
      </pc:sldChg>
      <pc:sldChg chg="addSp delSp modSp mod ord setBg">
        <pc:chgData name="christophe CHUECOS-FONT" userId="7e57acaa-4bc6-4644-8edc-0ecdded28594" providerId="ADAL" clId="{E0E3BE12-C07A-444A-8793-83B43DDD5D85}" dt="2021-02-26T08:10:31.140" v="1766" actId="14100"/>
        <pc:sldMkLst>
          <pc:docMk/>
          <pc:sldMk cId="1435419321" sldId="720"/>
        </pc:sldMkLst>
        <pc:spChg chg="del">
          <ac:chgData name="christophe CHUECOS-FONT" userId="7e57acaa-4bc6-4644-8edc-0ecdded28594" providerId="ADAL" clId="{E0E3BE12-C07A-444A-8793-83B43DDD5D85}" dt="2021-02-26T08:03:32.419" v="1611" actId="21"/>
          <ac:spMkLst>
            <pc:docMk/>
            <pc:sldMk cId="1435419321" sldId="720"/>
            <ac:spMk id="2" creationId="{00000000-0000-0000-0000-000000000000}"/>
          </ac:spMkLst>
        </pc:spChg>
        <pc:spChg chg="del">
          <ac:chgData name="christophe CHUECOS-FONT" userId="7e57acaa-4bc6-4644-8edc-0ecdded28594" providerId="ADAL" clId="{E0E3BE12-C07A-444A-8793-83B43DDD5D85}" dt="2021-02-26T08:00:55.737" v="1609" actId="21"/>
          <ac:spMkLst>
            <pc:docMk/>
            <pc:sldMk cId="1435419321" sldId="720"/>
            <ac:spMk id="4" creationId="{B907A768-CC25-4A4B-8C93-DA72B4C4D5E3}"/>
          </ac:spMkLst>
        </pc:spChg>
        <pc:spChg chg="add del mod">
          <ac:chgData name="christophe CHUECOS-FONT" userId="7e57acaa-4bc6-4644-8edc-0ecdded28594" providerId="ADAL" clId="{E0E3BE12-C07A-444A-8793-83B43DDD5D85}" dt="2021-02-26T08:04:04.711" v="1615" actId="21"/>
          <ac:spMkLst>
            <pc:docMk/>
            <pc:sldMk cId="1435419321" sldId="720"/>
            <ac:spMk id="8" creationId="{9A2468A2-A3FB-4877-948F-FDF872A438CC}"/>
          </ac:spMkLst>
        </pc:spChg>
        <pc:spChg chg="mod">
          <ac:chgData name="christophe CHUECOS-FONT" userId="7e57acaa-4bc6-4644-8edc-0ecdded28594" providerId="ADAL" clId="{E0E3BE12-C07A-444A-8793-83B43DDD5D85}" dt="2021-02-26T08:00:45.219" v="1608" actId="20577"/>
          <ac:spMkLst>
            <pc:docMk/>
            <pc:sldMk cId="1435419321" sldId="720"/>
            <ac:spMk id="10" creationId="{2104DD9E-7F53-465D-8561-41BB61362ACA}"/>
          </ac:spMkLst>
        </pc:spChg>
        <pc:spChg chg="del">
          <ac:chgData name="christophe CHUECOS-FONT" userId="7e57acaa-4bc6-4644-8edc-0ecdded28594" providerId="ADAL" clId="{E0E3BE12-C07A-444A-8793-83B43DDD5D85}" dt="2021-02-26T08:10:19.268" v="1765" actId="26606"/>
          <ac:spMkLst>
            <pc:docMk/>
            <pc:sldMk cId="1435419321" sldId="720"/>
            <ac:spMk id="67" creationId="{FD6EDB49-211E-499D-9A08-6C5FF3D060F7}"/>
          </ac:spMkLst>
        </pc:spChg>
        <pc:spChg chg="del">
          <ac:chgData name="christophe CHUECOS-FONT" userId="7e57acaa-4bc6-4644-8edc-0ecdded28594" providerId="ADAL" clId="{E0E3BE12-C07A-444A-8793-83B43DDD5D85}" dt="2021-02-26T08:10:19.268" v="1765" actId="26606"/>
          <ac:spMkLst>
            <pc:docMk/>
            <pc:sldMk cId="1435419321" sldId="720"/>
            <ac:spMk id="69" creationId="{38F9F37E-D3CF-4F3D-96C2-25307819DF2D}"/>
          </ac:spMkLst>
        </pc:spChg>
        <pc:spChg chg="del">
          <ac:chgData name="christophe CHUECOS-FONT" userId="7e57acaa-4bc6-4644-8edc-0ecdded28594" providerId="ADAL" clId="{E0E3BE12-C07A-444A-8793-83B43DDD5D85}" dt="2021-02-26T08:10:19.268" v="1765" actId="26606"/>
          <ac:spMkLst>
            <pc:docMk/>
            <pc:sldMk cId="1435419321" sldId="720"/>
            <ac:spMk id="71" creationId="{C5FFF17D-767C-40E7-8C89-962F1F54BCD0}"/>
          </ac:spMkLst>
        </pc:spChg>
        <pc:spChg chg="del">
          <ac:chgData name="christophe CHUECOS-FONT" userId="7e57acaa-4bc6-4644-8edc-0ecdded28594" providerId="ADAL" clId="{E0E3BE12-C07A-444A-8793-83B43DDD5D85}" dt="2021-02-26T08:10:19.268" v="1765" actId="26606"/>
          <ac:spMkLst>
            <pc:docMk/>
            <pc:sldMk cId="1435419321" sldId="720"/>
            <ac:spMk id="73" creationId="{E69F39E1-619D-4D9E-8823-8BD8CC3206B6}"/>
          </ac:spMkLst>
        </pc:spChg>
        <pc:spChg chg="del">
          <ac:chgData name="christophe CHUECOS-FONT" userId="7e57acaa-4bc6-4644-8edc-0ecdded28594" providerId="ADAL" clId="{E0E3BE12-C07A-444A-8793-83B43DDD5D85}" dt="2021-02-26T08:10:19.268" v="1765" actId="26606"/>
          <ac:spMkLst>
            <pc:docMk/>
            <pc:sldMk cId="1435419321" sldId="720"/>
            <ac:spMk id="75" creationId="{C8C53F47-DF50-454F-A5A6-6B969748D972}"/>
          </ac:spMkLst>
        </pc:spChg>
        <pc:spChg chg="add">
          <ac:chgData name="christophe CHUECOS-FONT" userId="7e57acaa-4bc6-4644-8edc-0ecdded28594" providerId="ADAL" clId="{E0E3BE12-C07A-444A-8793-83B43DDD5D85}" dt="2021-02-26T08:10:19.268" v="1765" actId="26606"/>
          <ac:spMkLst>
            <pc:docMk/>
            <pc:sldMk cId="1435419321" sldId="720"/>
            <ac:spMk id="82" creationId="{CDDE5CDF-1512-4CDA-B956-23D223F8DE44}"/>
          </ac:spMkLst>
        </pc:spChg>
        <pc:spChg chg="add">
          <ac:chgData name="christophe CHUECOS-FONT" userId="7e57acaa-4bc6-4644-8edc-0ecdded28594" providerId="ADAL" clId="{E0E3BE12-C07A-444A-8793-83B43DDD5D85}" dt="2021-02-26T08:10:19.268" v="1765" actId="26606"/>
          <ac:spMkLst>
            <pc:docMk/>
            <pc:sldMk cId="1435419321" sldId="720"/>
            <ac:spMk id="88" creationId="{F1176DA6-4BBF-42A4-9C94-E6613CCD6B37}"/>
          </ac:spMkLst>
        </pc:spChg>
        <pc:spChg chg="add">
          <ac:chgData name="christophe CHUECOS-FONT" userId="7e57acaa-4bc6-4644-8edc-0ecdded28594" providerId="ADAL" clId="{E0E3BE12-C07A-444A-8793-83B43DDD5D85}" dt="2021-02-26T08:10:19.268" v="1765" actId="26606"/>
          <ac:spMkLst>
            <pc:docMk/>
            <pc:sldMk cId="1435419321" sldId="720"/>
            <ac:spMk id="90" creationId="{99AAB0AE-172B-4FB4-80C2-86CD6B824220}"/>
          </ac:spMkLst>
        </pc:spChg>
        <pc:picChg chg="add mod ord">
          <ac:chgData name="christophe CHUECOS-FONT" userId="7e57acaa-4bc6-4644-8edc-0ecdded28594" providerId="ADAL" clId="{E0E3BE12-C07A-444A-8793-83B43DDD5D85}" dt="2021-02-26T08:10:31.140" v="1766" actId="14100"/>
          <ac:picMkLst>
            <pc:docMk/>
            <pc:sldMk cId="1435419321" sldId="720"/>
            <ac:picMk id="6" creationId="{BA6FDF90-98B7-4DE7-9DA2-593814214CF9}"/>
          </ac:picMkLst>
        </pc:picChg>
        <pc:picChg chg="del">
          <ac:chgData name="christophe CHUECOS-FONT" userId="7e57acaa-4bc6-4644-8edc-0ecdded28594" providerId="ADAL" clId="{E0E3BE12-C07A-444A-8793-83B43DDD5D85}" dt="2021-02-26T08:10:19.268" v="1765" actId="26606"/>
          <ac:picMkLst>
            <pc:docMk/>
            <pc:sldMk cId="1435419321" sldId="720"/>
            <ac:picMk id="77" creationId="{6A26901A-BC62-4A3A-A07A-65E1F3DDDEC6}"/>
          </ac:picMkLst>
        </pc:picChg>
        <pc:picChg chg="add">
          <ac:chgData name="christophe CHUECOS-FONT" userId="7e57acaa-4bc6-4644-8edc-0ecdded28594" providerId="ADAL" clId="{E0E3BE12-C07A-444A-8793-83B43DDD5D85}" dt="2021-02-26T08:10:19.268" v="1765" actId="26606"/>
          <ac:picMkLst>
            <pc:docMk/>
            <pc:sldMk cId="1435419321" sldId="720"/>
            <ac:picMk id="84" creationId="{B029D7D8-5A6B-4C76-94C8-15798C6C5ADB}"/>
          </ac:picMkLst>
        </pc:picChg>
        <pc:cxnChg chg="add">
          <ac:chgData name="christophe CHUECOS-FONT" userId="7e57acaa-4bc6-4644-8edc-0ecdded28594" providerId="ADAL" clId="{E0E3BE12-C07A-444A-8793-83B43DDD5D85}" dt="2021-02-26T08:10:19.268" v="1765" actId="26606"/>
          <ac:cxnSpMkLst>
            <pc:docMk/>
            <pc:sldMk cId="1435419321" sldId="720"/>
            <ac:cxnSpMk id="86" creationId="{A5C9319C-E20D-4884-952F-60B6A58C3E34}"/>
          </ac:cxnSpMkLst>
        </pc:cxnChg>
      </pc:sldChg>
      <pc:sldChg chg="addSp delSp modSp mod ord setBg setClrOvrMap">
        <pc:chgData name="christophe CHUECOS-FONT" userId="7e57acaa-4bc6-4644-8edc-0ecdded28594" providerId="ADAL" clId="{E0E3BE12-C07A-444A-8793-83B43DDD5D85}" dt="2021-02-26T08:08:40.250" v="1713" actId="14100"/>
        <pc:sldMkLst>
          <pc:docMk/>
          <pc:sldMk cId="862046135" sldId="746"/>
        </pc:sldMkLst>
        <pc:spChg chg="mod">
          <ac:chgData name="christophe CHUECOS-FONT" userId="7e57acaa-4bc6-4644-8edc-0ecdded28594" providerId="ADAL" clId="{E0E3BE12-C07A-444A-8793-83B43DDD5D85}" dt="2021-02-26T08:08:40.250" v="1713" actId="14100"/>
          <ac:spMkLst>
            <pc:docMk/>
            <pc:sldMk cId="862046135" sldId="746"/>
            <ac:spMk id="2" creationId="{02517F6E-26E9-44E8-815E-774552D95FD0}"/>
          </ac:spMkLst>
        </pc:spChg>
        <pc:spChg chg="del">
          <ac:chgData name="christophe CHUECOS-FONT" userId="7e57acaa-4bc6-4644-8edc-0ecdded28594" providerId="ADAL" clId="{E0E3BE12-C07A-444A-8793-83B43DDD5D85}" dt="2021-02-26T08:08:32.046" v="1712" actId="26606"/>
          <ac:spMkLst>
            <pc:docMk/>
            <pc:sldMk cId="862046135" sldId="746"/>
            <ac:spMk id="88" creationId="{16C5FA50-8D52-4617-AF91-5C7B1C8352F1}"/>
          </ac:spMkLst>
        </pc:spChg>
        <pc:spChg chg="del">
          <ac:chgData name="christophe CHUECOS-FONT" userId="7e57acaa-4bc6-4644-8edc-0ecdded28594" providerId="ADAL" clId="{E0E3BE12-C07A-444A-8793-83B43DDD5D85}" dt="2021-02-26T08:08:32.046" v="1712" actId="26606"/>
          <ac:spMkLst>
            <pc:docMk/>
            <pc:sldMk cId="862046135" sldId="746"/>
            <ac:spMk id="90" creationId="{E223798C-12AD-4B0C-A50C-D676347D67CF}"/>
          </ac:spMkLst>
        </pc:spChg>
        <pc:spChg chg="add">
          <ac:chgData name="christophe CHUECOS-FONT" userId="7e57acaa-4bc6-4644-8edc-0ecdded28594" providerId="ADAL" clId="{E0E3BE12-C07A-444A-8793-83B43DDD5D85}" dt="2021-02-26T08:08:32.046" v="1712" actId="26606"/>
          <ac:spMkLst>
            <pc:docMk/>
            <pc:sldMk cId="862046135" sldId="746"/>
            <ac:spMk id="95" creationId="{7D144591-E9E9-4209-8701-3BB48A917D51}"/>
          </ac:spMkLst>
        </pc:spChg>
        <pc:graphicFrameChg chg="add mod modGraphic">
          <ac:chgData name="christophe CHUECOS-FONT" userId="7e57acaa-4bc6-4644-8edc-0ecdded28594" providerId="ADAL" clId="{E0E3BE12-C07A-444A-8793-83B43DDD5D85}" dt="2021-02-26T08:08:32.046" v="1712" actId="26606"/>
          <ac:graphicFrameMkLst>
            <pc:docMk/>
            <pc:sldMk cId="862046135" sldId="746"/>
            <ac:graphicFrameMk id="3" creationId="{EB47E2AE-56E8-4C2F-9AC1-214629840D45}"/>
          </ac:graphicFrameMkLst>
        </pc:graphicFrameChg>
        <pc:picChg chg="del">
          <ac:chgData name="christophe CHUECOS-FONT" userId="7e57acaa-4bc6-4644-8edc-0ecdded28594" providerId="ADAL" clId="{E0E3BE12-C07A-444A-8793-83B43DDD5D85}" dt="2021-02-26T08:06:13.932" v="1622" actId="478"/>
          <ac:picMkLst>
            <pc:docMk/>
            <pc:sldMk cId="862046135" sldId="746"/>
            <ac:picMk id="36" creationId="{FC9EF324-339C-4E46-9508-BF0C86AAC793}"/>
          </ac:picMkLst>
        </pc:picChg>
      </pc:sldChg>
      <pc:sldChg chg="del">
        <pc:chgData name="christophe CHUECOS-FONT" userId="7e57acaa-4bc6-4644-8edc-0ecdded28594" providerId="ADAL" clId="{E0E3BE12-C07A-444A-8793-83B43DDD5D85}" dt="2021-02-24T17:55:12.462" v="783" actId="47"/>
        <pc:sldMkLst>
          <pc:docMk/>
          <pc:sldMk cId="207037776" sldId="748"/>
        </pc:sldMkLst>
      </pc:sldChg>
      <pc:sldChg chg="del">
        <pc:chgData name="christophe CHUECOS-FONT" userId="7e57acaa-4bc6-4644-8edc-0ecdded28594" providerId="ADAL" clId="{E0E3BE12-C07A-444A-8793-83B43DDD5D85}" dt="2021-02-24T17:55:00.200" v="778" actId="47"/>
        <pc:sldMkLst>
          <pc:docMk/>
          <pc:sldMk cId="4173125488" sldId="749"/>
        </pc:sldMkLst>
      </pc:sldChg>
      <pc:sldChg chg="modSp del ord">
        <pc:chgData name="christophe CHUECOS-FONT" userId="7e57acaa-4bc6-4644-8edc-0ecdded28594" providerId="ADAL" clId="{E0E3BE12-C07A-444A-8793-83B43DDD5D85}" dt="2021-02-24T17:22:26.430" v="456" actId="47"/>
        <pc:sldMkLst>
          <pc:docMk/>
          <pc:sldMk cId="1331932978" sldId="750"/>
        </pc:sldMkLst>
        <pc:graphicFrameChg chg="mod">
          <ac:chgData name="christophe CHUECOS-FONT" userId="7e57acaa-4bc6-4644-8edc-0ecdded28594" providerId="ADAL" clId="{E0E3BE12-C07A-444A-8793-83B43DDD5D85}" dt="2021-02-24T17:15:04.553" v="246" actId="20577"/>
          <ac:graphicFrameMkLst>
            <pc:docMk/>
            <pc:sldMk cId="1331932978" sldId="750"/>
            <ac:graphicFrameMk id="11" creationId="{E94DFFC9-EC83-475B-9CC4-E7F2C5E65D08}"/>
          </ac:graphicFrameMkLst>
        </pc:graphicFrameChg>
      </pc:sldChg>
      <pc:sldChg chg="modSp mod ord">
        <pc:chgData name="christophe CHUECOS-FONT" userId="7e57acaa-4bc6-4644-8edc-0ecdded28594" providerId="ADAL" clId="{E0E3BE12-C07A-444A-8793-83B43DDD5D85}" dt="2021-02-24T17:41:44.058" v="509" actId="20577"/>
        <pc:sldMkLst>
          <pc:docMk/>
          <pc:sldMk cId="199886149" sldId="751"/>
        </pc:sldMkLst>
        <pc:spChg chg="mod">
          <ac:chgData name="christophe CHUECOS-FONT" userId="7e57acaa-4bc6-4644-8edc-0ecdded28594" providerId="ADAL" clId="{E0E3BE12-C07A-444A-8793-83B43DDD5D85}" dt="2021-02-24T17:41:44.058" v="509" actId="20577"/>
          <ac:spMkLst>
            <pc:docMk/>
            <pc:sldMk cId="199886149" sldId="751"/>
            <ac:spMk id="5" creationId="{DFEA2082-E7DE-4453-8158-54F380B94285}"/>
          </ac:spMkLst>
        </pc:spChg>
      </pc:sldChg>
      <pc:sldChg chg="del">
        <pc:chgData name="christophe CHUECOS-FONT" userId="7e57acaa-4bc6-4644-8edc-0ecdded28594" providerId="ADAL" clId="{E0E3BE12-C07A-444A-8793-83B43DDD5D85}" dt="2021-02-24T17:55:08.078" v="780" actId="47"/>
        <pc:sldMkLst>
          <pc:docMk/>
          <pc:sldMk cId="1555533496" sldId="752"/>
        </pc:sldMkLst>
      </pc:sldChg>
      <pc:sldChg chg="modSp del mod">
        <pc:chgData name="christophe CHUECOS-FONT" userId="7e57acaa-4bc6-4644-8edc-0ecdded28594" providerId="ADAL" clId="{E0E3BE12-C07A-444A-8793-83B43DDD5D85}" dt="2021-02-26T08:20:15.735" v="2120" actId="6549"/>
        <pc:sldMkLst>
          <pc:docMk/>
          <pc:sldMk cId="1388402899" sldId="753"/>
        </pc:sldMkLst>
        <pc:spChg chg="mod">
          <ac:chgData name="christophe CHUECOS-FONT" userId="7e57acaa-4bc6-4644-8edc-0ecdded28594" providerId="ADAL" clId="{E0E3BE12-C07A-444A-8793-83B43DDD5D85}" dt="2021-02-26T08:20:15.735" v="2120" actId="6549"/>
          <ac:spMkLst>
            <pc:docMk/>
            <pc:sldMk cId="1388402899" sldId="753"/>
            <ac:spMk id="2" creationId="{00000000-0000-0000-0000-000000000000}"/>
          </ac:spMkLst>
        </pc:spChg>
        <pc:graphicFrameChg chg="mod">
          <ac:chgData name="christophe CHUECOS-FONT" userId="7e57acaa-4bc6-4644-8edc-0ecdded28594" providerId="ADAL" clId="{E0E3BE12-C07A-444A-8793-83B43DDD5D85}" dt="2021-02-26T08:18:54.702" v="2073" actId="20577"/>
          <ac:graphicFrameMkLst>
            <pc:docMk/>
            <pc:sldMk cId="1388402899" sldId="753"/>
            <ac:graphicFrameMk id="18" creationId="{617CF2FB-A56B-4819-897B-4183F10C8A27}"/>
          </ac:graphicFrameMkLst>
        </pc:graphicFrameChg>
      </pc:sldChg>
      <pc:sldChg chg="del">
        <pc:chgData name="christophe CHUECOS-FONT" userId="7e57acaa-4bc6-4644-8edc-0ecdded28594" providerId="ADAL" clId="{E0E3BE12-C07A-444A-8793-83B43DDD5D85}" dt="2021-02-24T17:55:11.197" v="782" actId="47"/>
        <pc:sldMkLst>
          <pc:docMk/>
          <pc:sldMk cId="1279459092" sldId="754"/>
        </pc:sldMkLst>
      </pc:sldChg>
      <pc:sldChg chg="del">
        <pc:chgData name="christophe CHUECOS-FONT" userId="7e57acaa-4bc6-4644-8edc-0ecdded28594" providerId="ADAL" clId="{E0E3BE12-C07A-444A-8793-83B43DDD5D85}" dt="2021-02-24T17:55:06.291" v="779" actId="47"/>
        <pc:sldMkLst>
          <pc:docMk/>
          <pc:sldMk cId="3967480954" sldId="755"/>
        </pc:sldMkLst>
      </pc:sldChg>
      <pc:sldChg chg="del">
        <pc:chgData name="christophe CHUECOS-FONT" userId="7e57acaa-4bc6-4644-8edc-0ecdded28594" providerId="ADAL" clId="{E0E3BE12-C07A-444A-8793-83B43DDD5D85}" dt="2021-02-24T17:55:45.323" v="793" actId="47"/>
        <pc:sldMkLst>
          <pc:docMk/>
          <pc:sldMk cId="18592871" sldId="757"/>
        </pc:sldMkLst>
      </pc:sldChg>
      <pc:sldChg chg="del">
        <pc:chgData name="christophe CHUECOS-FONT" userId="7e57acaa-4bc6-4644-8edc-0ecdded28594" providerId="ADAL" clId="{E0E3BE12-C07A-444A-8793-83B43DDD5D85}" dt="2021-02-24T17:55:13.668" v="784" actId="47"/>
        <pc:sldMkLst>
          <pc:docMk/>
          <pc:sldMk cId="3419805560" sldId="759"/>
        </pc:sldMkLst>
      </pc:sldChg>
      <pc:sldChg chg="modSp mod">
        <pc:chgData name="christophe CHUECOS-FONT" userId="7e57acaa-4bc6-4644-8edc-0ecdded28594" providerId="ADAL" clId="{E0E3BE12-C07A-444A-8793-83B43DDD5D85}" dt="2021-02-26T07:57:14.002" v="1540" actId="6549"/>
        <pc:sldMkLst>
          <pc:docMk/>
          <pc:sldMk cId="3112461652" sldId="760"/>
        </pc:sldMkLst>
        <pc:spChg chg="mod">
          <ac:chgData name="christophe CHUECOS-FONT" userId="7e57acaa-4bc6-4644-8edc-0ecdded28594" providerId="ADAL" clId="{E0E3BE12-C07A-444A-8793-83B43DDD5D85}" dt="2021-02-26T07:57:14.002" v="1540" actId="6549"/>
          <ac:spMkLst>
            <pc:docMk/>
            <pc:sldMk cId="3112461652" sldId="760"/>
            <ac:spMk id="2" creationId="{02517F6E-26E9-44E8-815E-774552D95FD0}"/>
          </ac:spMkLst>
        </pc:spChg>
      </pc:sldChg>
      <pc:sldChg chg="addSp delSp modSp mod setBg">
        <pc:chgData name="christophe CHUECOS-FONT" userId="7e57acaa-4bc6-4644-8edc-0ecdded28594" providerId="ADAL" clId="{E0E3BE12-C07A-444A-8793-83B43DDD5D85}" dt="2021-02-26T08:16:54.882" v="1992" actId="14100"/>
        <pc:sldMkLst>
          <pc:docMk/>
          <pc:sldMk cId="212327455" sldId="761"/>
        </pc:sldMkLst>
        <pc:spChg chg="mod">
          <ac:chgData name="christophe CHUECOS-FONT" userId="7e57acaa-4bc6-4644-8edc-0ecdded28594" providerId="ADAL" clId="{E0E3BE12-C07A-444A-8793-83B43DDD5D85}" dt="2021-02-26T08:16:32.155" v="1989" actId="26606"/>
          <ac:spMkLst>
            <pc:docMk/>
            <pc:sldMk cId="212327455" sldId="761"/>
            <ac:spMk id="2" creationId="{00000000-0000-0000-0000-000000000000}"/>
          </ac:spMkLst>
        </pc:spChg>
        <pc:spChg chg="mod">
          <ac:chgData name="christophe CHUECOS-FONT" userId="7e57acaa-4bc6-4644-8edc-0ecdded28594" providerId="ADAL" clId="{E0E3BE12-C07A-444A-8793-83B43DDD5D85}" dt="2021-02-26T08:16:54.882" v="1992" actId="14100"/>
          <ac:spMkLst>
            <pc:docMk/>
            <pc:sldMk cId="212327455" sldId="761"/>
            <ac:spMk id="10" creationId="{2104DD9E-7F53-465D-8561-41BB61362ACA}"/>
          </ac:spMkLst>
        </pc:spChg>
        <pc:spChg chg="add del">
          <ac:chgData name="christophe CHUECOS-FONT" userId="7e57acaa-4bc6-4644-8edc-0ecdded28594" providerId="ADAL" clId="{E0E3BE12-C07A-444A-8793-83B43DDD5D85}" dt="2021-02-26T08:16:32.155" v="1989" actId="26606"/>
          <ac:spMkLst>
            <pc:docMk/>
            <pc:sldMk cId="212327455" sldId="761"/>
            <ac:spMk id="67" creationId="{FD6EDB49-211E-499D-9A08-6C5FF3D060F7}"/>
          </ac:spMkLst>
        </pc:spChg>
        <pc:spChg chg="add del">
          <ac:chgData name="christophe CHUECOS-FONT" userId="7e57acaa-4bc6-4644-8edc-0ecdded28594" providerId="ADAL" clId="{E0E3BE12-C07A-444A-8793-83B43DDD5D85}" dt="2021-02-26T08:16:32.155" v="1989" actId="26606"/>
          <ac:spMkLst>
            <pc:docMk/>
            <pc:sldMk cId="212327455" sldId="761"/>
            <ac:spMk id="69" creationId="{38F9F37E-D3CF-4F3D-96C2-25307819DF2D}"/>
          </ac:spMkLst>
        </pc:spChg>
        <pc:spChg chg="add del">
          <ac:chgData name="christophe CHUECOS-FONT" userId="7e57acaa-4bc6-4644-8edc-0ecdded28594" providerId="ADAL" clId="{E0E3BE12-C07A-444A-8793-83B43DDD5D85}" dt="2021-02-26T08:16:32.155" v="1989" actId="26606"/>
          <ac:spMkLst>
            <pc:docMk/>
            <pc:sldMk cId="212327455" sldId="761"/>
            <ac:spMk id="71" creationId="{C5FFF17D-767C-40E7-8C89-962F1F54BCD0}"/>
          </ac:spMkLst>
        </pc:spChg>
        <pc:spChg chg="add del">
          <ac:chgData name="christophe CHUECOS-FONT" userId="7e57acaa-4bc6-4644-8edc-0ecdded28594" providerId="ADAL" clId="{E0E3BE12-C07A-444A-8793-83B43DDD5D85}" dt="2021-02-26T08:16:32.155" v="1989" actId="26606"/>
          <ac:spMkLst>
            <pc:docMk/>
            <pc:sldMk cId="212327455" sldId="761"/>
            <ac:spMk id="73" creationId="{E69F39E1-619D-4D9E-8823-8BD8CC3206B6}"/>
          </ac:spMkLst>
        </pc:spChg>
        <pc:spChg chg="add del">
          <ac:chgData name="christophe CHUECOS-FONT" userId="7e57acaa-4bc6-4644-8edc-0ecdded28594" providerId="ADAL" clId="{E0E3BE12-C07A-444A-8793-83B43DDD5D85}" dt="2021-02-26T08:16:32.155" v="1989" actId="26606"/>
          <ac:spMkLst>
            <pc:docMk/>
            <pc:sldMk cId="212327455" sldId="761"/>
            <ac:spMk id="75" creationId="{C8C53F47-DF50-454F-A5A6-6B969748D972}"/>
          </ac:spMkLst>
        </pc:spChg>
        <pc:spChg chg="add del">
          <ac:chgData name="christophe CHUECOS-FONT" userId="7e57acaa-4bc6-4644-8edc-0ecdded28594" providerId="ADAL" clId="{E0E3BE12-C07A-444A-8793-83B43DDD5D85}" dt="2021-02-26T08:16:29.501" v="1986" actId="26606"/>
          <ac:spMkLst>
            <pc:docMk/>
            <pc:sldMk cId="212327455" sldId="761"/>
            <ac:spMk id="82" creationId="{928AC827-DE41-4D3E-A58A-7459D979E65B}"/>
          </ac:spMkLst>
        </pc:spChg>
        <pc:spChg chg="add del">
          <ac:chgData name="christophe CHUECOS-FONT" userId="7e57acaa-4bc6-4644-8edc-0ecdded28594" providerId="ADAL" clId="{E0E3BE12-C07A-444A-8793-83B43DDD5D85}" dt="2021-02-26T08:16:29.501" v="1986" actId="26606"/>
          <ac:spMkLst>
            <pc:docMk/>
            <pc:sldMk cId="212327455" sldId="761"/>
            <ac:spMk id="88" creationId="{4197647C-4C56-4F84-ABC7-9E6F3E67838A}"/>
          </ac:spMkLst>
        </pc:spChg>
        <pc:spChg chg="add del">
          <ac:chgData name="christophe CHUECOS-FONT" userId="7e57acaa-4bc6-4644-8edc-0ecdded28594" providerId="ADAL" clId="{E0E3BE12-C07A-444A-8793-83B43DDD5D85}" dt="2021-02-26T08:16:32.146" v="1988" actId="26606"/>
          <ac:spMkLst>
            <pc:docMk/>
            <pc:sldMk cId="212327455" sldId="761"/>
            <ac:spMk id="90" creationId="{29C51009-A09A-4689-8E6C-F8FC99E6A840}"/>
          </ac:spMkLst>
        </pc:spChg>
        <pc:spChg chg="add">
          <ac:chgData name="christophe CHUECOS-FONT" userId="7e57acaa-4bc6-4644-8edc-0ecdded28594" providerId="ADAL" clId="{E0E3BE12-C07A-444A-8793-83B43DDD5D85}" dt="2021-02-26T08:16:32.155" v="1989" actId="26606"/>
          <ac:spMkLst>
            <pc:docMk/>
            <pc:sldMk cId="212327455" sldId="761"/>
            <ac:spMk id="93" creationId="{F63C748C-967B-4A7B-A90F-3EDD0F485AC6}"/>
          </ac:spMkLst>
        </pc:spChg>
        <pc:spChg chg="add">
          <ac:chgData name="christophe CHUECOS-FONT" userId="7e57acaa-4bc6-4644-8edc-0ecdded28594" providerId="ADAL" clId="{E0E3BE12-C07A-444A-8793-83B43DDD5D85}" dt="2021-02-26T08:16:32.155" v="1989" actId="26606"/>
          <ac:spMkLst>
            <pc:docMk/>
            <pc:sldMk cId="212327455" sldId="761"/>
            <ac:spMk id="94" creationId="{C0143637-4934-44E4-B909-BAF1E7B27972}"/>
          </ac:spMkLst>
        </pc:spChg>
        <pc:grpChg chg="add del">
          <ac:chgData name="christophe CHUECOS-FONT" userId="7e57acaa-4bc6-4644-8edc-0ecdded28594" providerId="ADAL" clId="{E0E3BE12-C07A-444A-8793-83B43DDD5D85}" dt="2021-02-26T08:16:29.501" v="1986" actId="26606"/>
          <ac:grpSpMkLst>
            <pc:docMk/>
            <pc:sldMk cId="212327455" sldId="761"/>
            <ac:grpSpMk id="84" creationId="{1FAD7B33-B27E-4BD4-BE9C-A3698E433CF5}"/>
          </ac:grpSpMkLst>
        </pc:grpChg>
        <pc:picChg chg="add del">
          <ac:chgData name="christophe CHUECOS-FONT" userId="7e57acaa-4bc6-4644-8edc-0ecdded28594" providerId="ADAL" clId="{E0E3BE12-C07A-444A-8793-83B43DDD5D85}" dt="2021-02-26T08:16:32.155" v="1989" actId="26606"/>
          <ac:picMkLst>
            <pc:docMk/>
            <pc:sldMk cId="212327455" sldId="761"/>
            <ac:picMk id="77" creationId="{6A26901A-BC62-4A3A-A07A-65E1F3DDDEC6}"/>
          </ac:picMkLst>
        </pc:picChg>
        <pc:cxnChg chg="add del">
          <ac:chgData name="christophe CHUECOS-FONT" userId="7e57acaa-4bc6-4644-8edc-0ecdded28594" providerId="ADAL" clId="{E0E3BE12-C07A-444A-8793-83B43DDD5D85}" dt="2021-02-26T08:16:32.146" v="1988" actId="26606"/>
          <ac:cxnSpMkLst>
            <pc:docMk/>
            <pc:sldMk cId="212327455" sldId="761"/>
            <ac:cxnSpMk id="91" creationId="{9EC65442-F244-409C-BF44-C5D6472E810A}"/>
          </ac:cxnSpMkLst>
        </pc:cxnChg>
      </pc:sldChg>
      <pc:sldChg chg="del">
        <pc:chgData name="christophe CHUECOS-FONT" userId="7e57acaa-4bc6-4644-8edc-0ecdded28594" providerId="ADAL" clId="{E0E3BE12-C07A-444A-8793-83B43DDD5D85}" dt="2021-02-26T08:18:18.488" v="1993" actId="47"/>
        <pc:sldMkLst>
          <pc:docMk/>
          <pc:sldMk cId="2127276154" sldId="762"/>
        </pc:sldMkLst>
      </pc:sldChg>
      <pc:sldChg chg="del">
        <pc:chgData name="christophe CHUECOS-FONT" userId="7e57acaa-4bc6-4644-8edc-0ecdded28594" providerId="ADAL" clId="{E0E3BE12-C07A-444A-8793-83B43DDD5D85}" dt="2021-02-26T08:18:18.488" v="1993" actId="47"/>
        <pc:sldMkLst>
          <pc:docMk/>
          <pc:sldMk cId="4144782788" sldId="763"/>
        </pc:sldMkLst>
      </pc:sldChg>
      <pc:sldChg chg="del">
        <pc:chgData name="christophe CHUECOS-FONT" userId="7e57acaa-4bc6-4644-8edc-0ecdded28594" providerId="ADAL" clId="{E0E3BE12-C07A-444A-8793-83B43DDD5D85}" dt="2021-02-26T08:18:18.488" v="1993" actId="47"/>
        <pc:sldMkLst>
          <pc:docMk/>
          <pc:sldMk cId="3860019962" sldId="764"/>
        </pc:sldMkLst>
      </pc:sldChg>
      <pc:sldChg chg="del">
        <pc:chgData name="christophe CHUECOS-FONT" userId="7e57acaa-4bc6-4644-8edc-0ecdded28594" providerId="ADAL" clId="{E0E3BE12-C07A-444A-8793-83B43DDD5D85}" dt="2021-02-26T08:18:18.488" v="1993" actId="47"/>
        <pc:sldMkLst>
          <pc:docMk/>
          <pc:sldMk cId="2787990808" sldId="765"/>
        </pc:sldMkLst>
      </pc:sldChg>
      <pc:sldChg chg="del">
        <pc:chgData name="christophe CHUECOS-FONT" userId="7e57acaa-4bc6-4644-8edc-0ecdded28594" providerId="ADAL" clId="{E0E3BE12-C07A-444A-8793-83B43DDD5D85}" dt="2021-02-26T08:18:18.488" v="1993" actId="47"/>
        <pc:sldMkLst>
          <pc:docMk/>
          <pc:sldMk cId="3006974179" sldId="766"/>
        </pc:sldMkLst>
      </pc:sldChg>
      <pc:sldChg chg="del">
        <pc:chgData name="christophe CHUECOS-FONT" userId="7e57acaa-4bc6-4644-8edc-0ecdded28594" providerId="ADAL" clId="{E0E3BE12-C07A-444A-8793-83B43DDD5D85}" dt="2021-02-26T08:18:18.488" v="1993" actId="47"/>
        <pc:sldMkLst>
          <pc:docMk/>
          <pc:sldMk cId="3594099411" sldId="767"/>
        </pc:sldMkLst>
      </pc:sldChg>
      <pc:sldChg chg="del">
        <pc:chgData name="christophe CHUECOS-FONT" userId="7e57acaa-4bc6-4644-8edc-0ecdded28594" providerId="ADAL" clId="{E0E3BE12-C07A-444A-8793-83B43DDD5D85}" dt="2021-02-26T08:18:18.488" v="1993" actId="47"/>
        <pc:sldMkLst>
          <pc:docMk/>
          <pc:sldMk cId="3439461203" sldId="768"/>
        </pc:sldMkLst>
      </pc:sldChg>
      <pc:sldChg chg="del">
        <pc:chgData name="christophe CHUECOS-FONT" userId="7e57acaa-4bc6-4644-8edc-0ecdded28594" providerId="ADAL" clId="{E0E3BE12-C07A-444A-8793-83B43DDD5D85}" dt="2021-02-24T17:57:09.535" v="909" actId="47"/>
        <pc:sldMkLst>
          <pc:docMk/>
          <pc:sldMk cId="1646378701" sldId="769"/>
        </pc:sldMkLst>
      </pc:sldChg>
      <pc:sldChg chg="del">
        <pc:chgData name="christophe CHUECOS-FONT" userId="7e57acaa-4bc6-4644-8edc-0ecdded28594" providerId="ADAL" clId="{E0E3BE12-C07A-444A-8793-83B43DDD5D85}" dt="2021-02-24T17:57:08.111" v="908" actId="47"/>
        <pc:sldMkLst>
          <pc:docMk/>
          <pc:sldMk cId="6719625" sldId="770"/>
        </pc:sldMkLst>
      </pc:sldChg>
      <pc:sldChg chg="addSp modSp add mod">
        <pc:chgData name="christophe CHUECOS-FONT" userId="7e57acaa-4bc6-4644-8edc-0ecdded28594" providerId="ADAL" clId="{E0E3BE12-C07A-444A-8793-83B43DDD5D85}" dt="2021-02-24T17:55:41.167" v="792" actId="255"/>
        <pc:sldMkLst>
          <pc:docMk/>
          <pc:sldMk cId="3892075455" sldId="771"/>
        </pc:sldMkLst>
        <pc:spChg chg="add mod">
          <ac:chgData name="christophe CHUECOS-FONT" userId="7e57acaa-4bc6-4644-8edc-0ecdded28594" providerId="ADAL" clId="{E0E3BE12-C07A-444A-8793-83B43DDD5D85}" dt="2021-02-24T17:55:41.167" v="792" actId="255"/>
          <ac:spMkLst>
            <pc:docMk/>
            <pc:sldMk cId="3892075455" sldId="771"/>
            <ac:spMk id="2" creationId="{232A2D28-A06C-48FD-ABB4-EB7E27B84308}"/>
          </ac:spMkLst>
        </pc:spChg>
      </pc:sldChg>
      <pc:sldChg chg="addSp delSp modSp add mod ord">
        <pc:chgData name="christophe CHUECOS-FONT" userId="7e57acaa-4bc6-4644-8edc-0ecdded28594" providerId="ADAL" clId="{E0E3BE12-C07A-444A-8793-83B43DDD5D85}" dt="2021-02-24T17:38:49.388" v="497" actId="1076"/>
        <pc:sldMkLst>
          <pc:docMk/>
          <pc:sldMk cId="2762610378" sldId="772"/>
        </pc:sldMkLst>
        <pc:spChg chg="add del mod">
          <ac:chgData name="christophe CHUECOS-FONT" userId="7e57acaa-4bc6-4644-8edc-0ecdded28594" providerId="ADAL" clId="{E0E3BE12-C07A-444A-8793-83B43DDD5D85}" dt="2021-02-24T17:31:19.677" v="465" actId="931"/>
          <ac:spMkLst>
            <pc:docMk/>
            <pc:sldMk cId="2762610378" sldId="772"/>
            <ac:spMk id="3" creationId="{2EEC8EBD-E450-4103-A4CF-634BA8D7F40B}"/>
          </ac:spMkLst>
        </pc:spChg>
        <pc:spChg chg="add del mod">
          <ac:chgData name="christophe CHUECOS-FONT" userId="7e57acaa-4bc6-4644-8edc-0ecdded28594" providerId="ADAL" clId="{E0E3BE12-C07A-444A-8793-83B43DDD5D85}" dt="2021-02-24T17:32:29.667" v="467" actId="22"/>
          <ac:spMkLst>
            <pc:docMk/>
            <pc:sldMk cId="2762610378" sldId="772"/>
            <ac:spMk id="8" creationId="{390A33DD-E65E-484C-B6FC-9F19691B0F99}"/>
          </ac:spMkLst>
        </pc:spChg>
        <pc:spChg chg="add del mod">
          <ac:chgData name="christophe CHUECOS-FONT" userId="7e57acaa-4bc6-4644-8edc-0ecdded28594" providerId="ADAL" clId="{E0E3BE12-C07A-444A-8793-83B43DDD5D85}" dt="2021-02-24T17:35:52.204" v="478" actId="22"/>
          <ac:spMkLst>
            <pc:docMk/>
            <pc:sldMk cId="2762610378" sldId="772"/>
            <ac:spMk id="35" creationId="{1690BCAC-5D69-4E7F-8431-C77A414C345C}"/>
          </ac:spMkLst>
        </pc:spChg>
        <pc:spChg chg="add del mod">
          <ac:chgData name="christophe CHUECOS-FONT" userId="7e57acaa-4bc6-4644-8edc-0ecdded28594" providerId="ADAL" clId="{E0E3BE12-C07A-444A-8793-83B43DDD5D85}" dt="2021-02-24T17:37:48.107" v="483" actId="22"/>
          <ac:spMkLst>
            <pc:docMk/>
            <pc:sldMk cId="2762610378" sldId="772"/>
            <ac:spMk id="41" creationId="{26B86D89-67C2-4D49-A427-CC7CDED11E59}"/>
          </ac:spMkLst>
        </pc:spChg>
        <pc:graphicFrameChg chg="del mod">
          <ac:chgData name="christophe CHUECOS-FONT" userId="7e57acaa-4bc6-4644-8edc-0ecdded28594" providerId="ADAL" clId="{E0E3BE12-C07A-444A-8793-83B43DDD5D85}" dt="2021-02-24T17:31:07.125" v="464" actId="21"/>
          <ac:graphicFrameMkLst>
            <pc:docMk/>
            <pc:sldMk cId="2762610378" sldId="772"/>
            <ac:graphicFrameMk id="6" creationId="{4A6E514C-D3C4-4B29-BB5C-DB98C7CA5742}"/>
          </ac:graphicFrameMkLst>
        </pc:graphicFrameChg>
        <pc:picChg chg="add del mod">
          <ac:chgData name="christophe CHUECOS-FONT" userId="7e57acaa-4bc6-4644-8edc-0ecdded28594" providerId="ADAL" clId="{E0E3BE12-C07A-444A-8793-83B43DDD5D85}" dt="2021-02-24T17:31:25.045" v="466" actId="21"/>
          <ac:picMkLst>
            <pc:docMk/>
            <pc:sldMk cId="2762610378" sldId="772"/>
            <ac:picMk id="5" creationId="{1BB802A8-3C59-406E-89B7-FE59274CB27A}"/>
          </ac:picMkLst>
        </pc:picChg>
        <pc:picChg chg="add del mod ord">
          <ac:chgData name="christophe CHUECOS-FONT" userId="7e57acaa-4bc6-4644-8edc-0ecdded28594" providerId="ADAL" clId="{E0E3BE12-C07A-444A-8793-83B43DDD5D85}" dt="2021-02-24T17:32:45.025" v="469" actId="478"/>
          <ac:picMkLst>
            <pc:docMk/>
            <pc:sldMk cId="2762610378" sldId="772"/>
            <ac:picMk id="10" creationId="{58FE3667-EA02-4364-96A4-EECC65BC6EE3}"/>
          </ac:picMkLst>
        </pc:picChg>
        <pc:picChg chg="add del mod ord">
          <ac:chgData name="christophe CHUECOS-FONT" userId="7e57acaa-4bc6-4644-8edc-0ecdded28594" providerId="ADAL" clId="{E0E3BE12-C07A-444A-8793-83B43DDD5D85}" dt="2021-02-24T17:34:30.429" v="477" actId="22"/>
          <ac:picMkLst>
            <pc:docMk/>
            <pc:sldMk cId="2762610378" sldId="772"/>
            <ac:picMk id="37" creationId="{F5889782-1845-4583-8994-614D7EA29B39}"/>
          </ac:picMkLst>
        </pc:picChg>
        <pc:picChg chg="add del mod ord">
          <ac:chgData name="christophe CHUECOS-FONT" userId="7e57acaa-4bc6-4644-8edc-0ecdded28594" providerId="ADAL" clId="{E0E3BE12-C07A-444A-8793-83B43DDD5D85}" dt="2021-02-24T17:37:38.416" v="482" actId="478"/>
          <ac:picMkLst>
            <pc:docMk/>
            <pc:sldMk cId="2762610378" sldId="772"/>
            <ac:picMk id="39" creationId="{4AC863A2-D45C-4EDD-8A50-2BAF22F98505}"/>
          </ac:picMkLst>
        </pc:picChg>
        <pc:picChg chg="add mod ord">
          <ac:chgData name="christophe CHUECOS-FONT" userId="7e57acaa-4bc6-4644-8edc-0ecdded28594" providerId="ADAL" clId="{E0E3BE12-C07A-444A-8793-83B43DDD5D85}" dt="2021-02-24T17:38:49.388" v="497" actId="1076"/>
          <ac:picMkLst>
            <pc:docMk/>
            <pc:sldMk cId="2762610378" sldId="772"/>
            <ac:picMk id="43" creationId="{75F83CB2-3FD3-4998-913A-993E154A6722}"/>
          </ac:picMkLst>
        </pc:picChg>
      </pc:sldChg>
      <pc:sldChg chg="modSp add mod ord">
        <pc:chgData name="christophe CHUECOS-FONT" userId="7e57acaa-4bc6-4644-8edc-0ecdded28594" providerId="ADAL" clId="{E0E3BE12-C07A-444A-8793-83B43DDD5D85}" dt="2021-02-24T17:42:36.428" v="523" actId="14100"/>
        <pc:sldMkLst>
          <pc:docMk/>
          <pc:sldMk cId="2111735787" sldId="773"/>
        </pc:sldMkLst>
        <pc:picChg chg="mod">
          <ac:chgData name="christophe CHUECOS-FONT" userId="7e57acaa-4bc6-4644-8edc-0ecdded28594" providerId="ADAL" clId="{E0E3BE12-C07A-444A-8793-83B43DDD5D85}" dt="2021-02-24T17:42:36.428" v="523" actId="14100"/>
          <ac:picMkLst>
            <pc:docMk/>
            <pc:sldMk cId="2111735787" sldId="773"/>
            <ac:picMk id="43" creationId="{75F83CB2-3FD3-4998-913A-993E154A6722}"/>
          </ac:picMkLst>
        </pc:picChg>
      </pc:sldChg>
      <pc:sldChg chg="modSp add mod">
        <pc:chgData name="christophe CHUECOS-FONT" userId="7e57acaa-4bc6-4644-8edc-0ecdded28594" providerId="ADAL" clId="{E0E3BE12-C07A-444A-8793-83B43DDD5D85}" dt="2021-02-24T17:41:52.603" v="513" actId="20577"/>
        <pc:sldMkLst>
          <pc:docMk/>
          <pc:sldMk cId="696502473" sldId="774"/>
        </pc:sldMkLst>
        <pc:spChg chg="mod">
          <ac:chgData name="christophe CHUECOS-FONT" userId="7e57acaa-4bc6-4644-8edc-0ecdded28594" providerId="ADAL" clId="{E0E3BE12-C07A-444A-8793-83B43DDD5D85}" dt="2021-02-24T17:41:52.603" v="513" actId="20577"/>
          <ac:spMkLst>
            <pc:docMk/>
            <pc:sldMk cId="696502473" sldId="774"/>
            <ac:spMk id="5" creationId="{DFEA2082-E7DE-4453-8158-54F380B94285}"/>
          </ac:spMkLst>
        </pc:spChg>
      </pc:sldChg>
      <pc:sldChg chg="add">
        <pc:chgData name="christophe CHUECOS-FONT" userId="7e57acaa-4bc6-4644-8edc-0ecdded28594" providerId="ADAL" clId="{E0E3BE12-C07A-444A-8793-83B43DDD5D85}" dt="2021-02-24T17:41:59.699" v="514" actId="2890"/>
        <pc:sldMkLst>
          <pc:docMk/>
          <pc:sldMk cId="4174618780" sldId="775"/>
        </pc:sldMkLst>
      </pc:sldChg>
      <pc:sldChg chg="add del">
        <pc:chgData name="christophe CHUECOS-FONT" userId="7e57acaa-4bc6-4644-8edc-0ecdded28594" providerId="ADAL" clId="{E0E3BE12-C07A-444A-8793-83B43DDD5D85}" dt="2021-02-24T17:42:16.962" v="519" actId="47"/>
        <pc:sldMkLst>
          <pc:docMk/>
          <pc:sldMk cId="2114115078" sldId="776"/>
        </pc:sldMkLst>
      </pc:sldChg>
      <pc:sldChg chg="modSp add mod">
        <pc:chgData name="christophe CHUECOS-FONT" userId="7e57acaa-4bc6-4644-8edc-0ecdded28594" providerId="ADAL" clId="{E0E3BE12-C07A-444A-8793-83B43DDD5D85}" dt="2021-02-24T17:42:48.864" v="527" actId="14100"/>
        <pc:sldMkLst>
          <pc:docMk/>
          <pc:sldMk cId="2798386433" sldId="776"/>
        </pc:sldMkLst>
        <pc:picChg chg="mod">
          <ac:chgData name="christophe CHUECOS-FONT" userId="7e57acaa-4bc6-4644-8edc-0ecdded28594" providerId="ADAL" clId="{E0E3BE12-C07A-444A-8793-83B43DDD5D85}" dt="2021-02-24T17:42:48.864" v="527" actId="14100"/>
          <ac:picMkLst>
            <pc:docMk/>
            <pc:sldMk cId="2798386433" sldId="776"/>
            <ac:picMk id="43" creationId="{75F83CB2-3FD3-4998-913A-993E154A6722}"/>
          </ac:picMkLst>
        </pc:picChg>
      </pc:sldChg>
      <pc:sldChg chg="addSp delSp modSp add mod ord setBg setClrOvrMap">
        <pc:chgData name="christophe CHUECOS-FONT" userId="7e57acaa-4bc6-4644-8edc-0ecdded28594" providerId="ADAL" clId="{E0E3BE12-C07A-444A-8793-83B43DDD5D85}" dt="2021-02-24T17:52:01.189" v="730" actId="20577"/>
        <pc:sldMkLst>
          <pc:docMk/>
          <pc:sldMk cId="3770467369" sldId="777"/>
        </pc:sldMkLst>
        <pc:spChg chg="mod">
          <ac:chgData name="christophe CHUECOS-FONT" userId="7e57acaa-4bc6-4644-8edc-0ecdded28594" providerId="ADAL" clId="{E0E3BE12-C07A-444A-8793-83B43DDD5D85}" dt="2021-02-24T17:47:45.118" v="587" actId="14100"/>
          <ac:spMkLst>
            <pc:docMk/>
            <pc:sldMk cId="3770467369" sldId="777"/>
            <ac:spMk id="2" creationId="{02517F6E-26E9-44E8-815E-774552D95FD0}"/>
          </ac:spMkLst>
        </pc:spChg>
        <pc:spChg chg="mod ord">
          <ac:chgData name="christophe CHUECOS-FONT" userId="7e57acaa-4bc6-4644-8edc-0ecdded28594" providerId="ADAL" clId="{E0E3BE12-C07A-444A-8793-83B43DDD5D85}" dt="2021-02-24T17:52:01.189" v="730" actId="20577"/>
          <ac:spMkLst>
            <pc:docMk/>
            <pc:sldMk cId="3770467369" sldId="777"/>
            <ac:spMk id="5" creationId="{DFEA2082-E7DE-4453-8158-54F380B94285}"/>
          </ac:spMkLst>
        </pc:spChg>
        <pc:spChg chg="del">
          <ac:chgData name="christophe CHUECOS-FONT" userId="7e57acaa-4bc6-4644-8edc-0ecdded28594" providerId="ADAL" clId="{E0E3BE12-C07A-444A-8793-83B43DDD5D85}" dt="2021-02-24T17:47:18.131" v="581" actId="26606"/>
          <ac:spMkLst>
            <pc:docMk/>
            <pc:sldMk cId="3770467369" sldId="777"/>
            <ac:spMk id="77" creationId="{8537B233-9CDD-4A90-AABB-A8963DEE4FBC}"/>
          </ac:spMkLst>
        </pc:spChg>
        <pc:spChg chg="add">
          <ac:chgData name="christophe CHUECOS-FONT" userId="7e57acaa-4bc6-4644-8edc-0ecdded28594" providerId="ADAL" clId="{E0E3BE12-C07A-444A-8793-83B43DDD5D85}" dt="2021-02-24T17:47:18.131" v="581" actId="26606"/>
          <ac:spMkLst>
            <pc:docMk/>
            <pc:sldMk cId="3770467369" sldId="777"/>
            <ac:spMk id="84" creationId="{F13C74B1-5B17-4795-BED0-7140497B445A}"/>
          </ac:spMkLst>
        </pc:spChg>
        <pc:spChg chg="add">
          <ac:chgData name="christophe CHUECOS-FONT" userId="7e57acaa-4bc6-4644-8edc-0ecdded28594" providerId="ADAL" clId="{E0E3BE12-C07A-444A-8793-83B43DDD5D85}" dt="2021-02-24T17:47:18.131" v="581" actId="26606"/>
          <ac:spMkLst>
            <pc:docMk/>
            <pc:sldMk cId="3770467369" sldId="777"/>
            <ac:spMk id="86" creationId="{D4974D33-8DC5-464E-8C6D-BE58F0669C17}"/>
          </ac:spMkLst>
        </pc:spChg>
        <pc:picChg chg="mod">
          <ac:chgData name="christophe CHUECOS-FONT" userId="7e57acaa-4bc6-4644-8edc-0ecdded28594" providerId="ADAL" clId="{E0E3BE12-C07A-444A-8793-83B43DDD5D85}" dt="2021-02-24T17:47:18.131" v="581" actId="26606"/>
          <ac:picMkLst>
            <pc:docMk/>
            <pc:sldMk cId="3770467369" sldId="777"/>
            <ac:picMk id="36" creationId="{FC9EF324-339C-4E46-9508-BF0C86AAC793}"/>
          </ac:picMkLst>
        </pc:picChg>
        <pc:cxnChg chg="del">
          <ac:chgData name="christophe CHUECOS-FONT" userId="7e57acaa-4bc6-4644-8edc-0ecdded28594" providerId="ADAL" clId="{E0E3BE12-C07A-444A-8793-83B43DDD5D85}" dt="2021-02-24T17:47:18.131" v="581" actId="26606"/>
          <ac:cxnSpMkLst>
            <pc:docMk/>
            <pc:sldMk cId="3770467369" sldId="777"/>
            <ac:cxnSpMk id="79" creationId="{040575EE-C594-4566-BC00-663004E52AB5}"/>
          </ac:cxnSpMkLst>
        </pc:cxnChg>
      </pc:sldChg>
      <pc:sldChg chg="modSp add mod">
        <pc:chgData name="christophe CHUECOS-FONT" userId="7e57acaa-4bc6-4644-8edc-0ecdded28594" providerId="ADAL" clId="{E0E3BE12-C07A-444A-8793-83B43DDD5D85}" dt="2021-02-24T17:51:12.254" v="694" actId="6549"/>
        <pc:sldMkLst>
          <pc:docMk/>
          <pc:sldMk cId="2365865540" sldId="778"/>
        </pc:sldMkLst>
        <pc:spChg chg="mod">
          <ac:chgData name="christophe CHUECOS-FONT" userId="7e57acaa-4bc6-4644-8edc-0ecdded28594" providerId="ADAL" clId="{E0E3BE12-C07A-444A-8793-83B43DDD5D85}" dt="2021-02-24T17:51:12.254" v="694" actId="6549"/>
          <ac:spMkLst>
            <pc:docMk/>
            <pc:sldMk cId="2365865540" sldId="778"/>
            <ac:spMk id="2" creationId="{EF4842FF-7B87-4819-9D9E-8FAB225F796F}"/>
          </ac:spMkLst>
        </pc:spChg>
        <pc:spChg chg="mod">
          <ac:chgData name="christophe CHUECOS-FONT" userId="7e57acaa-4bc6-4644-8edc-0ecdded28594" providerId="ADAL" clId="{E0E3BE12-C07A-444A-8793-83B43DDD5D85}" dt="2021-02-24T17:50:56.694" v="617" actId="27636"/>
          <ac:spMkLst>
            <pc:docMk/>
            <pc:sldMk cId="2365865540" sldId="778"/>
            <ac:spMk id="3" creationId="{AE031ED6-BBEB-4F69-BB03-35ED79344BB4}"/>
          </ac:spMkLst>
        </pc:spChg>
      </pc:sldChg>
      <pc:sldChg chg="modSp add mod ord">
        <pc:chgData name="christophe CHUECOS-FONT" userId="7e57acaa-4bc6-4644-8edc-0ecdded28594" providerId="ADAL" clId="{E0E3BE12-C07A-444A-8793-83B43DDD5D85}" dt="2021-02-24T17:51:41.804" v="700" actId="13926"/>
        <pc:sldMkLst>
          <pc:docMk/>
          <pc:sldMk cId="3945995144" sldId="779"/>
        </pc:sldMkLst>
        <pc:spChg chg="mod">
          <ac:chgData name="christophe CHUECOS-FONT" userId="7e57acaa-4bc6-4644-8edc-0ecdded28594" providerId="ADAL" clId="{E0E3BE12-C07A-444A-8793-83B43DDD5D85}" dt="2021-02-24T17:51:41.804" v="700" actId="13926"/>
          <ac:spMkLst>
            <pc:docMk/>
            <pc:sldMk cId="3945995144" sldId="779"/>
            <ac:spMk id="5" creationId="{DFEA2082-E7DE-4453-8158-54F380B94285}"/>
          </ac:spMkLst>
        </pc:spChg>
      </pc:sldChg>
      <pc:sldChg chg="modSp add mod ord">
        <pc:chgData name="christophe CHUECOS-FONT" userId="7e57acaa-4bc6-4644-8edc-0ecdded28594" providerId="ADAL" clId="{E0E3BE12-C07A-444A-8793-83B43DDD5D85}" dt="2021-02-24T17:54:52.352" v="775" actId="6549"/>
        <pc:sldMkLst>
          <pc:docMk/>
          <pc:sldMk cId="2156200813" sldId="780"/>
        </pc:sldMkLst>
        <pc:spChg chg="mod">
          <ac:chgData name="christophe CHUECOS-FONT" userId="7e57acaa-4bc6-4644-8edc-0ecdded28594" providerId="ADAL" clId="{E0E3BE12-C07A-444A-8793-83B43DDD5D85}" dt="2021-02-24T17:54:52.352" v="775" actId="6549"/>
          <ac:spMkLst>
            <pc:docMk/>
            <pc:sldMk cId="2156200813" sldId="780"/>
            <ac:spMk id="2" creationId="{EF4842FF-7B87-4819-9D9E-8FAB225F796F}"/>
          </ac:spMkLst>
        </pc:spChg>
        <pc:spChg chg="mod">
          <ac:chgData name="christophe CHUECOS-FONT" userId="7e57acaa-4bc6-4644-8edc-0ecdded28594" providerId="ADAL" clId="{E0E3BE12-C07A-444A-8793-83B43DDD5D85}" dt="2021-02-24T17:54:31.087" v="767" actId="27636"/>
          <ac:spMkLst>
            <pc:docMk/>
            <pc:sldMk cId="2156200813" sldId="780"/>
            <ac:spMk id="3" creationId="{AE031ED6-BBEB-4F69-BB03-35ED79344BB4}"/>
          </ac:spMkLst>
        </pc:spChg>
      </pc:sldChg>
      <pc:sldChg chg="modSp add mod">
        <pc:chgData name="christophe CHUECOS-FONT" userId="7e57acaa-4bc6-4644-8edc-0ecdded28594" providerId="ADAL" clId="{E0E3BE12-C07A-444A-8793-83B43DDD5D85}" dt="2021-02-26T07:32:45.441" v="969" actId="20577"/>
        <pc:sldMkLst>
          <pc:docMk/>
          <pc:sldMk cId="441897783" sldId="781"/>
        </pc:sldMkLst>
        <pc:spChg chg="mod">
          <ac:chgData name="christophe CHUECOS-FONT" userId="7e57acaa-4bc6-4644-8edc-0ecdded28594" providerId="ADAL" clId="{E0E3BE12-C07A-444A-8793-83B43DDD5D85}" dt="2021-02-26T07:32:45.441" v="969" actId="20577"/>
          <ac:spMkLst>
            <pc:docMk/>
            <pc:sldMk cId="441897783" sldId="781"/>
            <ac:spMk id="2" creationId="{EF4842FF-7B87-4819-9D9E-8FAB225F796F}"/>
          </ac:spMkLst>
        </pc:spChg>
        <pc:spChg chg="mod">
          <ac:chgData name="christophe CHUECOS-FONT" userId="7e57acaa-4bc6-4644-8edc-0ecdded28594" providerId="ADAL" clId="{E0E3BE12-C07A-444A-8793-83B43DDD5D85}" dt="2021-02-24T17:54:43.710" v="773" actId="5793"/>
          <ac:spMkLst>
            <pc:docMk/>
            <pc:sldMk cId="441897783" sldId="781"/>
            <ac:spMk id="3" creationId="{AE031ED6-BBEB-4F69-BB03-35ED79344BB4}"/>
          </ac:spMkLst>
        </pc:spChg>
      </pc:sldChg>
      <pc:sldChg chg="addSp delSp modSp add del mod ord setClrOvrMap">
        <pc:chgData name="christophe CHUECOS-FONT" userId="7e57acaa-4bc6-4644-8edc-0ecdded28594" providerId="ADAL" clId="{E0E3BE12-C07A-444A-8793-83B43DDD5D85}" dt="2021-02-26T07:41:24.490" v="1028" actId="47"/>
        <pc:sldMkLst>
          <pc:docMk/>
          <pc:sldMk cId="1506670677" sldId="782"/>
        </pc:sldMkLst>
        <pc:spChg chg="mod">
          <ac:chgData name="christophe CHUECOS-FONT" userId="7e57acaa-4bc6-4644-8edc-0ecdded28594" providerId="ADAL" clId="{E0E3BE12-C07A-444A-8793-83B43DDD5D85}" dt="2021-02-24T17:58:10.868" v="926" actId="26606"/>
          <ac:spMkLst>
            <pc:docMk/>
            <pc:sldMk cId="1506670677" sldId="782"/>
            <ac:spMk id="2" creationId="{02517F6E-26E9-44E8-815E-774552D95FD0}"/>
          </ac:spMkLst>
        </pc:spChg>
        <pc:spChg chg="mod">
          <ac:chgData name="christophe CHUECOS-FONT" userId="7e57acaa-4bc6-4644-8edc-0ecdded28594" providerId="ADAL" clId="{E0E3BE12-C07A-444A-8793-83B43DDD5D85}" dt="2021-02-24T17:58:02.089" v="925" actId="6549"/>
          <ac:spMkLst>
            <pc:docMk/>
            <pc:sldMk cId="1506670677" sldId="782"/>
            <ac:spMk id="5" creationId="{DFEA2082-E7DE-4453-8158-54F380B94285}"/>
          </ac:spMkLst>
        </pc:spChg>
        <pc:spChg chg="del">
          <ac:chgData name="christophe CHUECOS-FONT" userId="7e57acaa-4bc6-4644-8edc-0ecdded28594" providerId="ADAL" clId="{E0E3BE12-C07A-444A-8793-83B43DDD5D85}" dt="2021-02-24T17:58:10.868" v="926" actId="26606"/>
          <ac:spMkLst>
            <pc:docMk/>
            <pc:sldMk cId="1506670677" sldId="782"/>
            <ac:spMk id="84" creationId="{F13C74B1-5B17-4795-BED0-7140497B445A}"/>
          </ac:spMkLst>
        </pc:spChg>
        <pc:spChg chg="del">
          <ac:chgData name="christophe CHUECOS-FONT" userId="7e57acaa-4bc6-4644-8edc-0ecdded28594" providerId="ADAL" clId="{E0E3BE12-C07A-444A-8793-83B43DDD5D85}" dt="2021-02-24T17:58:10.868" v="926" actId="26606"/>
          <ac:spMkLst>
            <pc:docMk/>
            <pc:sldMk cId="1506670677" sldId="782"/>
            <ac:spMk id="86" creationId="{D4974D33-8DC5-464E-8C6D-BE58F0669C17}"/>
          </ac:spMkLst>
        </pc:spChg>
        <pc:spChg chg="add">
          <ac:chgData name="christophe CHUECOS-FONT" userId="7e57acaa-4bc6-4644-8edc-0ecdded28594" providerId="ADAL" clId="{E0E3BE12-C07A-444A-8793-83B43DDD5D85}" dt="2021-02-24T17:58:10.868" v="926" actId="26606"/>
          <ac:spMkLst>
            <pc:docMk/>
            <pc:sldMk cId="1506670677" sldId="782"/>
            <ac:spMk id="91" creationId="{526E0BFB-CDF1-4990-8C11-AC849311E0A8}"/>
          </ac:spMkLst>
        </pc:spChg>
        <pc:spChg chg="add">
          <ac:chgData name="christophe CHUECOS-FONT" userId="7e57acaa-4bc6-4644-8edc-0ecdded28594" providerId="ADAL" clId="{E0E3BE12-C07A-444A-8793-83B43DDD5D85}" dt="2021-02-24T17:58:10.868" v="926" actId="26606"/>
          <ac:spMkLst>
            <pc:docMk/>
            <pc:sldMk cId="1506670677" sldId="782"/>
            <ac:spMk id="93" creationId="{6069A1F8-9BEB-4786-9694-FC48B2D75D21}"/>
          </ac:spMkLst>
        </pc:spChg>
        <pc:spChg chg="add">
          <ac:chgData name="christophe CHUECOS-FONT" userId="7e57acaa-4bc6-4644-8edc-0ecdded28594" providerId="ADAL" clId="{E0E3BE12-C07A-444A-8793-83B43DDD5D85}" dt="2021-02-24T17:58:10.868" v="926" actId="26606"/>
          <ac:spMkLst>
            <pc:docMk/>
            <pc:sldMk cId="1506670677" sldId="782"/>
            <ac:spMk id="95" creationId="{AF2F604E-43BE-4DC3-B983-E071523364F8}"/>
          </ac:spMkLst>
        </pc:spChg>
        <pc:spChg chg="add">
          <ac:chgData name="christophe CHUECOS-FONT" userId="7e57acaa-4bc6-4644-8edc-0ecdded28594" providerId="ADAL" clId="{E0E3BE12-C07A-444A-8793-83B43DDD5D85}" dt="2021-02-24T17:58:10.868" v="926" actId="26606"/>
          <ac:spMkLst>
            <pc:docMk/>
            <pc:sldMk cId="1506670677" sldId="782"/>
            <ac:spMk id="97" creationId="{08C9B587-E65E-4B52-B37C-ABEBB6E87928}"/>
          </ac:spMkLst>
        </pc:spChg>
        <pc:picChg chg="mod ord">
          <ac:chgData name="christophe CHUECOS-FONT" userId="7e57acaa-4bc6-4644-8edc-0ecdded28594" providerId="ADAL" clId="{E0E3BE12-C07A-444A-8793-83B43DDD5D85}" dt="2021-02-24T17:58:10.868" v="926" actId="26606"/>
          <ac:picMkLst>
            <pc:docMk/>
            <pc:sldMk cId="1506670677" sldId="782"/>
            <ac:picMk id="36" creationId="{FC9EF324-339C-4E46-9508-BF0C86AAC793}"/>
          </ac:picMkLst>
        </pc:picChg>
      </pc:sldChg>
      <pc:sldChg chg="modSp add mod ord">
        <pc:chgData name="christophe CHUECOS-FONT" userId="7e57acaa-4bc6-4644-8edc-0ecdded28594" providerId="ADAL" clId="{E0E3BE12-C07A-444A-8793-83B43DDD5D85}" dt="2021-02-26T07:40:45.219" v="994" actId="20577"/>
        <pc:sldMkLst>
          <pc:docMk/>
          <pc:sldMk cId="1728658405" sldId="783"/>
        </pc:sldMkLst>
        <pc:spChg chg="mod">
          <ac:chgData name="christophe CHUECOS-FONT" userId="7e57acaa-4bc6-4644-8edc-0ecdded28594" providerId="ADAL" clId="{E0E3BE12-C07A-444A-8793-83B43DDD5D85}" dt="2021-02-26T07:40:45.219" v="994" actId="20577"/>
          <ac:spMkLst>
            <pc:docMk/>
            <pc:sldMk cId="1728658405" sldId="783"/>
            <ac:spMk id="2" creationId="{00000000-0000-0000-0000-000000000000}"/>
          </ac:spMkLst>
        </pc:spChg>
        <pc:spChg chg="mod">
          <ac:chgData name="christophe CHUECOS-FONT" userId="7e57acaa-4bc6-4644-8edc-0ecdded28594" providerId="ADAL" clId="{E0E3BE12-C07A-444A-8793-83B43DDD5D85}" dt="2021-02-26T07:40:33.209" v="973" actId="27636"/>
          <ac:spMkLst>
            <pc:docMk/>
            <pc:sldMk cId="1728658405" sldId="783"/>
            <ac:spMk id="10" creationId="{2104DD9E-7F53-465D-8561-41BB61362ACA}"/>
          </ac:spMkLst>
        </pc:spChg>
      </pc:sldChg>
      <pc:sldChg chg="modSp add mod">
        <pc:chgData name="christophe CHUECOS-FONT" userId="7e57acaa-4bc6-4644-8edc-0ecdded28594" providerId="ADAL" clId="{E0E3BE12-C07A-444A-8793-83B43DDD5D85}" dt="2021-02-26T07:41:16.916" v="1027" actId="20577"/>
        <pc:sldMkLst>
          <pc:docMk/>
          <pc:sldMk cId="1708826299" sldId="784"/>
        </pc:sldMkLst>
        <pc:spChg chg="mod">
          <ac:chgData name="christophe CHUECOS-FONT" userId="7e57acaa-4bc6-4644-8edc-0ecdded28594" providerId="ADAL" clId="{E0E3BE12-C07A-444A-8793-83B43DDD5D85}" dt="2021-02-26T07:41:16.916" v="1027" actId="20577"/>
          <ac:spMkLst>
            <pc:docMk/>
            <pc:sldMk cId="1708826299" sldId="784"/>
            <ac:spMk id="2" creationId="{02517F6E-26E9-44E8-815E-774552D95FD0}"/>
          </ac:spMkLst>
        </pc:spChg>
      </pc:sldChg>
      <pc:sldChg chg="delSp modSp add mod">
        <pc:chgData name="christophe CHUECOS-FONT" userId="7e57acaa-4bc6-4644-8edc-0ecdded28594" providerId="ADAL" clId="{E0E3BE12-C07A-444A-8793-83B43DDD5D85}" dt="2021-02-26T07:43:30.145" v="1041" actId="27636"/>
        <pc:sldMkLst>
          <pc:docMk/>
          <pc:sldMk cId="718493941" sldId="785"/>
        </pc:sldMkLst>
        <pc:spChg chg="del">
          <ac:chgData name="christophe CHUECOS-FONT" userId="7e57acaa-4bc6-4644-8edc-0ecdded28594" providerId="ADAL" clId="{E0E3BE12-C07A-444A-8793-83B43DDD5D85}" dt="2021-02-26T07:43:20.996" v="1039" actId="21"/>
          <ac:spMkLst>
            <pc:docMk/>
            <pc:sldMk cId="718493941" sldId="785"/>
            <ac:spMk id="4" creationId="{B907A768-CC25-4A4B-8C93-DA72B4C4D5E3}"/>
          </ac:spMkLst>
        </pc:spChg>
        <pc:spChg chg="mod">
          <ac:chgData name="christophe CHUECOS-FONT" userId="7e57acaa-4bc6-4644-8edc-0ecdded28594" providerId="ADAL" clId="{E0E3BE12-C07A-444A-8793-83B43DDD5D85}" dt="2021-02-26T07:43:30.145" v="1041" actId="27636"/>
          <ac:spMkLst>
            <pc:docMk/>
            <pc:sldMk cId="718493941" sldId="785"/>
            <ac:spMk id="10" creationId="{2104DD9E-7F53-465D-8561-41BB61362ACA}"/>
          </ac:spMkLst>
        </pc:spChg>
      </pc:sldChg>
      <pc:sldChg chg="new del">
        <pc:chgData name="christophe CHUECOS-FONT" userId="7e57acaa-4bc6-4644-8edc-0ecdded28594" providerId="ADAL" clId="{E0E3BE12-C07A-444A-8793-83B43DDD5D85}" dt="2021-02-26T07:42:50.993" v="1034" actId="47"/>
        <pc:sldMkLst>
          <pc:docMk/>
          <pc:sldMk cId="991876331" sldId="786"/>
        </pc:sldMkLst>
      </pc:sldChg>
      <pc:sldChg chg="modSp add mod ord">
        <pc:chgData name="christophe CHUECOS-FONT" userId="7e57acaa-4bc6-4644-8edc-0ecdded28594" providerId="ADAL" clId="{E0E3BE12-C07A-444A-8793-83B43DDD5D85}" dt="2021-02-26T07:48:40.864" v="1138"/>
        <pc:sldMkLst>
          <pc:docMk/>
          <pc:sldMk cId="1217582069" sldId="786"/>
        </pc:sldMkLst>
        <pc:spChg chg="mod">
          <ac:chgData name="christophe CHUECOS-FONT" userId="7e57acaa-4bc6-4644-8edc-0ecdded28594" providerId="ADAL" clId="{E0E3BE12-C07A-444A-8793-83B43DDD5D85}" dt="2021-02-26T07:44:18.737" v="1106" actId="27636"/>
          <ac:spMkLst>
            <pc:docMk/>
            <pc:sldMk cId="1217582069" sldId="786"/>
            <ac:spMk id="2" creationId="{55455007-8AF7-4CFF-8B0D-381E697B6724}"/>
          </ac:spMkLst>
        </pc:spChg>
        <pc:graphicFrameChg chg="mod">
          <ac:chgData name="christophe CHUECOS-FONT" userId="7e57acaa-4bc6-4644-8edc-0ecdded28594" providerId="ADAL" clId="{E0E3BE12-C07A-444A-8793-83B43DDD5D85}" dt="2021-02-26T07:48:40.864" v="1138"/>
          <ac:graphicFrameMkLst>
            <pc:docMk/>
            <pc:sldMk cId="1217582069" sldId="786"/>
            <ac:graphicFrameMk id="5" creationId="{0C899C7D-CFDA-4D32-B2E9-07B40C3BB1B2}"/>
          </ac:graphicFrameMkLst>
        </pc:graphicFrameChg>
      </pc:sldChg>
      <pc:sldChg chg="modSp add mod">
        <pc:chgData name="christophe CHUECOS-FONT" userId="7e57acaa-4bc6-4644-8edc-0ecdded28594" providerId="ADAL" clId="{E0E3BE12-C07A-444A-8793-83B43DDD5D85}" dt="2021-02-26T07:54:16.343" v="1243" actId="5793"/>
        <pc:sldMkLst>
          <pc:docMk/>
          <pc:sldMk cId="3455780624" sldId="787"/>
        </pc:sldMkLst>
        <pc:spChg chg="mod">
          <ac:chgData name="christophe CHUECOS-FONT" userId="7e57acaa-4bc6-4644-8edc-0ecdded28594" providerId="ADAL" clId="{E0E3BE12-C07A-444A-8793-83B43DDD5D85}" dt="2021-02-26T07:52:36.874" v="1208" actId="20577"/>
          <ac:spMkLst>
            <pc:docMk/>
            <pc:sldMk cId="3455780624" sldId="787"/>
            <ac:spMk id="2" creationId="{00000000-0000-0000-0000-000000000000}"/>
          </ac:spMkLst>
        </pc:spChg>
        <pc:spChg chg="mod">
          <ac:chgData name="christophe CHUECOS-FONT" userId="7e57acaa-4bc6-4644-8edc-0ecdded28594" providerId="ADAL" clId="{E0E3BE12-C07A-444A-8793-83B43DDD5D85}" dt="2021-02-26T07:54:16.343" v="1243" actId="5793"/>
          <ac:spMkLst>
            <pc:docMk/>
            <pc:sldMk cId="3455780624" sldId="787"/>
            <ac:spMk id="10" creationId="{2104DD9E-7F53-465D-8561-41BB61362ACA}"/>
          </ac:spMkLst>
        </pc:spChg>
      </pc:sldChg>
      <pc:sldChg chg="modSp add mod">
        <pc:chgData name="christophe CHUECOS-FONT" userId="7e57acaa-4bc6-4644-8edc-0ecdded28594" providerId="ADAL" clId="{E0E3BE12-C07A-444A-8793-83B43DDD5D85}" dt="2021-02-26T07:56:49.744" v="1481" actId="27636"/>
        <pc:sldMkLst>
          <pc:docMk/>
          <pc:sldMk cId="211972868" sldId="788"/>
        </pc:sldMkLst>
        <pc:spChg chg="mod">
          <ac:chgData name="christophe CHUECOS-FONT" userId="7e57acaa-4bc6-4644-8edc-0ecdded28594" providerId="ADAL" clId="{E0E3BE12-C07A-444A-8793-83B43DDD5D85}" dt="2021-02-26T07:54:45.342" v="1267" actId="20577"/>
          <ac:spMkLst>
            <pc:docMk/>
            <pc:sldMk cId="211972868" sldId="788"/>
            <ac:spMk id="2" creationId="{00000000-0000-0000-0000-000000000000}"/>
          </ac:spMkLst>
        </pc:spChg>
        <pc:spChg chg="mod">
          <ac:chgData name="christophe CHUECOS-FONT" userId="7e57acaa-4bc6-4644-8edc-0ecdded28594" providerId="ADAL" clId="{E0E3BE12-C07A-444A-8793-83B43DDD5D85}" dt="2021-02-26T07:56:49.744" v="1481" actId="27636"/>
          <ac:spMkLst>
            <pc:docMk/>
            <pc:sldMk cId="211972868" sldId="788"/>
            <ac:spMk id="10" creationId="{2104DD9E-7F53-465D-8561-41BB61362ACA}"/>
          </ac:spMkLst>
        </pc:spChg>
      </pc:sldChg>
      <pc:sldChg chg="modSp add mod">
        <pc:chgData name="christophe CHUECOS-FONT" userId="7e57acaa-4bc6-4644-8edc-0ecdded28594" providerId="ADAL" clId="{E0E3BE12-C07A-444A-8793-83B43DDD5D85}" dt="2021-02-26T07:59:20.833" v="1586" actId="20577"/>
        <pc:sldMkLst>
          <pc:docMk/>
          <pc:sldMk cId="2485451293" sldId="789"/>
        </pc:sldMkLst>
        <pc:spChg chg="mod">
          <ac:chgData name="christophe CHUECOS-FONT" userId="7e57acaa-4bc6-4644-8edc-0ecdded28594" providerId="ADAL" clId="{E0E3BE12-C07A-444A-8793-83B43DDD5D85}" dt="2021-02-26T07:59:12.801" v="1568" actId="6549"/>
          <ac:spMkLst>
            <pc:docMk/>
            <pc:sldMk cId="2485451293" sldId="789"/>
            <ac:spMk id="2" creationId="{00000000-0000-0000-0000-000000000000}"/>
          </ac:spMkLst>
        </pc:spChg>
        <pc:spChg chg="mod">
          <ac:chgData name="christophe CHUECOS-FONT" userId="7e57acaa-4bc6-4644-8edc-0ecdded28594" providerId="ADAL" clId="{E0E3BE12-C07A-444A-8793-83B43DDD5D85}" dt="2021-02-26T07:59:20.833" v="1586" actId="20577"/>
          <ac:spMkLst>
            <pc:docMk/>
            <pc:sldMk cId="2485451293" sldId="789"/>
            <ac:spMk id="10" creationId="{2104DD9E-7F53-465D-8561-41BB61362ACA}"/>
          </ac:spMkLst>
        </pc:spChg>
      </pc:sldChg>
      <pc:sldChg chg="addSp modSp add del mod ord">
        <pc:chgData name="christophe CHUECOS-FONT" userId="7e57acaa-4bc6-4644-8edc-0ecdded28594" providerId="ADAL" clId="{E0E3BE12-C07A-444A-8793-83B43DDD5D85}" dt="2021-02-26T08:08:07.458" v="1711" actId="47"/>
        <pc:sldMkLst>
          <pc:docMk/>
          <pc:sldMk cId="933705290" sldId="790"/>
        </pc:sldMkLst>
        <pc:spChg chg="mod">
          <ac:chgData name="christophe CHUECOS-FONT" userId="7e57acaa-4bc6-4644-8edc-0ecdded28594" providerId="ADAL" clId="{E0E3BE12-C07A-444A-8793-83B43DDD5D85}" dt="2021-02-26T08:00:05.162" v="1604" actId="20577"/>
          <ac:spMkLst>
            <pc:docMk/>
            <pc:sldMk cId="933705290" sldId="790"/>
            <ac:spMk id="2" creationId="{02517F6E-26E9-44E8-815E-774552D95FD0}"/>
          </ac:spMkLst>
        </pc:spChg>
        <pc:spChg chg="mod">
          <ac:chgData name="christophe CHUECOS-FONT" userId="7e57acaa-4bc6-4644-8edc-0ecdded28594" providerId="ADAL" clId="{E0E3BE12-C07A-444A-8793-83B43DDD5D85}" dt="2021-02-26T08:00:11.620" v="1605" actId="6549"/>
          <ac:spMkLst>
            <pc:docMk/>
            <pc:sldMk cId="933705290" sldId="790"/>
            <ac:spMk id="5" creationId="{DFEA2082-E7DE-4453-8158-54F380B94285}"/>
          </ac:spMkLst>
        </pc:spChg>
        <pc:graphicFrameChg chg="add modGraphic">
          <ac:chgData name="christophe CHUECOS-FONT" userId="7e57acaa-4bc6-4644-8edc-0ecdded28594" providerId="ADAL" clId="{E0E3BE12-C07A-444A-8793-83B43DDD5D85}" dt="2021-02-26T08:05:00.217" v="1616" actId="1032"/>
          <ac:graphicFrameMkLst>
            <pc:docMk/>
            <pc:sldMk cId="933705290" sldId="790"/>
            <ac:graphicFrameMk id="3" creationId="{3122202F-3289-4751-AA91-C478B7D7FA38}"/>
          </ac:graphicFrameMkLst>
        </pc:graphicFrameChg>
      </pc:sldChg>
      <pc:sldChg chg="add">
        <pc:chgData name="christophe CHUECOS-FONT" userId="7e57acaa-4bc6-4644-8edc-0ecdded28594" providerId="ADAL" clId="{E0E3BE12-C07A-444A-8793-83B43DDD5D85}" dt="2021-02-26T08:05:30.919" v="1619" actId="2890"/>
        <pc:sldMkLst>
          <pc:docMk/>
          <pc:sldMk cId="1394971565" sldId="791"/>
        </pc:sldMkLst>
      </pc:sldChg>
      <pc:sldChg chg="new del">
        <pc:chgData name="christophe CHUECOS-FONT" userId="7e57acaa-4bc6-4644-8edc-0ecdded28594" providerId="ADAL" clId="{E0E3BE12-C07A-444A-8793-83B43DDD5D85}" dt="2021-02-26T08:05:18.752" v="1618" actId="47"/>
        <pc:sldMkLst>
          <pc:docMk/>
          <pc:sldMk cId="2294928137" sldId="791"/>
        </pc:sldMkLst>
      </pc:sldChg>
      <pc:sldChg chg="addSp delSp modSp add mod">
        <pc:chgData name="christophe CHUECOS-FONT" userId="7e57acaa-4bc6-4644-8edc-0ecdded28594" providerId="ADAL" clId="{E0E3BE12-C07A-444A-8793-83B43DDD5D85}" dt="2021-02-26T08:09:52.588" v="1764" actId="20577"/>
        <pc:sldMkLst>
          <pc:docMk/>
          <pc:sldMk cId="3327528291" sldId="792"/>
        </pc:sldMkLst>
        <pc:spChg chg="mod">
          <ac:chgData name="christophe CHUECOS-FONT" userId="7e57acaa-4bc6-4644-8edc-0ecdded28594" providerId="ADAL" clId="{E0E3BE12-C07A-444A-8793-83B43DDD5D85}" dt="2021-02-26T08:09:52.588" v="1764" actId="20577"/>
          <ac:spMkLst>
            <pc:docMk/>
            <pc:sldMk cId="3327528291" sldId="792"/>
            <ac:spMk id="2" creationId="{02517F6E-26E9-44E8-815E-774552D95FD0}"/>
          </ac:spMkLst>
        </pc:spChg>
        <pc:spChg chg="del">
          <ac:chgData name="christophe CHUECOS-FONT" userId="7e57acaa-4bc6-4644-8edc-0ecdded28594" providerId="ADAL" clId="{E0E3BE12-C07A-444A-8793-83B43DDD5D85}" dt="2021-02-26T08:09:19.309" v="1736" actId="26606"/>
          <ac:spMkLst>
            <pc:docMk/>
            <pc:sldMk cId="3327528291" sldId="792"/>
            <ac:spMk id="95" creationId="{7D144591-E9E9-4209-8701-3BB48A917D51}"/>
          </ac:spMkLst>
        </pc:spChg>
        <pc:spChg chg="add">
          <ac:chgData name="christophe CHUECOS-FONT" userId="7e57acaa-4bc6-4644-8edc-0ecdded28594" providerId="ADAL" clId="{E0E3BE12-C07A-444A-8793-83B43DDD5D85}" dt="2021-02-26T08:09:19.309" v="1736" actId="26606"/>
          <ac:spMkLst>
            <pc:docMk/>
            <pc:sldMk cId="3327528291" sldId="792"/>
            <ac:spMk id="100" creationId="{53B021B3-DE93-4AB7-8A18-CF5F1CED88B8}"/>
          </ac:spMkLst>
        </pc:spChg>
        <pc:spChg chg="add">
          <ac:chgData name="christophe CHUECOS-FONT" userId="7e57acaa-4bc6-4644-8edc-0ecdded28594" providerId="ADAL" clId="{E0E3BE12-C07A-444A-8793-83B43DDD5D85}" dt="2021-02-26T08:09:19.309" v="1736" actId="26606"/>
          <ac:spMkLst>
            <pc:docMk/>
            <pc:sldMk cId="3327528291" sldId="792"/>
            <ac:spMk id="102" creationId="{52D502E5-F6B4-4D58-B4AE-FC466FF15EE8}"/>
          </ac:spMkLst>
        </pc:spChg>
        <pc:spChg chg="add">
          <ac:chgData name="christophe CHUECOS-FONT" userId="7e57acaa-4bc6-4644-8edc-0ecdded28594" providerId="ADAL" clId="{E0E3BE12-C07A-444A-8793-83B43DDD5D85}" dt="2021-02-26T08:09:19.309" v="1736" actId="26606"/>
          <ac:spMkLst>
            <pc:docMk/>
            <pc:sldMk cId="3327528291" sldId="792"/>
            <ac:spMk id="104" creationId="{9DECDBF4-02B6-4BB4-B65B-B8107AD6A9E8}"/>
          </ac:spMkLst>
        </pc:spChg>
        <pc:graphicFrameChg chg="mod modGraphic">
          <ac:chgData name="christophe CHUECOS-FONT" userId="7e57acaa-4bc6-4644-8edc-0ecdded28594" providerId="ADAL" clId="{E0E3BE12-C07A-444A-8793-83B43DDD5D85}" dt="2021-02-26T08:09:19.309" v="1736" actId="26606"/>
          <ac:graphicFrameMkLst>
            <pc:docMk/>
            <pc:sldMk cId="3327528291" sldId="792"/>
            <ac:graphicFrameMk id="3" creationId="{EB47E2AE-56E8-4C2F-9AC1-214629840D45}"/>
          </ac:graphicFrameMkLst>
        </pc:graphicFrameChg>
      </pc:sldChg>
      <pc:sldChg chg="addSp delSp modSp add mod">
        <pc:chgData name="christophe CHUECOS-FONT" userId="7e57acaa-4bc6-4644-8edc-0ecdded28594" providerId="ADAL" clId="{E0E3BE12-C07A-444A-8793-83B43DDD5D85}" dt="2021-02-26T08:26:05.291" v="2554" actId="14100"/>
        <pc:sldMkLst>
          <pc:docMk/>
          <pc:sldMk cId="2165141887" sldId="793"/>
        </pc:sldMkLst>
        <pc:spChg chg="mod ord">
          <ac:chgData name="christophe CHUECOS-FONT" userId="7e57acaa-4bc6-4644-8edc-0ecdded28594" providerId="ADAL" clId="{E0E3BE12-C07A-444A-8793-83B43DDD5D85}" dt="2021-02-26T08:25:55.974" v="2553" actId="26606"/>
          <ac:spMkLst>
            <pc:docMk/>
            <pc:sldMk cId="2165141887" sldId="793"/>
            <ac:spMk id="2" creationId="{00000000-0000-0000-0000-000000000000}"/>
          </ac:spMkLst>
        </pc:spChg>
        <pc:spChg chg="add mod">
          <ac:chgData name="christophe CHUECOS-FONT" userId="7e57acaa-4bc6-4644-8edc-0ecdded28594" providerId="ADAL" clId="{E0E3BE12-C07A-444A-8793-83B43DDD5D85}" dt="2021-02-26T08:26:05.291" v="2554" actId="14100"/>
          <ac:spMkLst>
            <pc:docMk/>
            <pc:sldMk cId="2165141887" sldId="793"/>
            <ac:spMk id="3" creationId="{060668A1-F703-43F0-AA81-AEEE6C0B4942}"/>
          </ac:spMkLst>
        </pc:spChg>
        <pc:graphicFrameChg chg="del mod">
          <ac:chgData name="christophe CHUECOS-FONT" userId="7e57acaa-4bc6-4644-8edc-0ecdded28594" providerId="ADAL" clId="{E0E3BE12-C07A-444A-8793-83B43DDD5D85}" dt="2021-02-26T08:19:53.183" v="2110" actId="478"/>
          <ac:graphicFrameMkLst>
            <pc:docMk/>
            <pc:sldMk cId="2165141887" sldId="793"/>
            <ac:graphicFrameMk id="18" creationId="{617CF2FB-A56B-4819-897B-4183F10C8A27}"/>
          </ac:graphicFrameMkLst>
        </pc:graphicFrameChg>
        <pc:picChg chg="mod">
          <ac:chgData name="christophe CHUECOS-FONT" userId="7e57acaa-4bc6-4644-8edc-0ecdded28594" providerId="ADAL" clId="{E0E3BE12-C07A-444A-8793-83B43DDD5D85}" dt="2021-02-26T08:25:55.974" v="2553" actId="26606"/>
          <ac:picMkLst>
            <pc:docMk/>
            <pc:sldMk cId="2165141887" sldId="793"/>
            <ac:picMk id="12" creationId="{1FD79E4A-E80D-4BA5-BEA9-44F693117FDC}"/>
          </ac:picMkLst>
        </pc:picChg>
        <pc:picChg chg="add">
          <ac:chgData name="christophe CHUECOS-FONT" userId="7e57acaa-4bc6-4644-8edc-0ecdded28594" providerId="ADAL" clId="{E0E3BE12-C07A-444A-8793-83B43DDD5D85}" dt="2021-02-26T08:25:55.974" v="2553" actId="26606"/>
          <ac:picMkLst>
            <pc:docMk/>
            <pc:sldMk cId="2165141887" sldId="793"/>
            <ac:picMk id="21" creationId="{54DDEBDD-D8BD-41A6-8A0D-B00E3768B0F9}"/>
          </ac:picMkLst>
        </pc:picChg>
        <pc:cxnChg chg="del">
          <ac:chgData name="christophe CHUECOS-FONT" userId="7e57acaa-4bc6-4644-8edc-0ecdded28594" providerId="ADAL" clId="{E0E3BE12-C07A-444A-8793-83B43DDD5D85}" dt="2021-02-26T08:25:55.974" v="2553" actId="26606"/>
          <ac:cxnSpMkLst>
            <pc:docMk/>
            <pc:sldMk cId="2165141887" sldId="793"/>
            <ac:cxnSpMk id="16" creationId="{A7F400EE-A8A5-48AF-B4D6-291B52C6F0B0}"/>
          </ac:cxnSpMkLst>
        </pc:cxnChg>
      </pc:sldChg>
      <pc:sldChg chg="addSp delSp modSp add del mod ord setBg setClrOvrMap">
        <pc:chgData name="christophe CHUECOS-FONT" userId="7e57acaa-4bc6-4644-8edc-0ecdded28594" providerId="ADAL" clId="{E0E3BE12-C07A-444A-8793-83B43DDD5D85}" dt="2021-02-26T13:03:42.821" v="2895" actId="47"/>
        <pc:sldMkLst>
          <pc:docMk/>
          <pc:sldMk cId="1508637551" sldId="794"/>
        </pc:sldMkLst>
        <pc:spChg chg="mod">
          <ac:chgData name="christophe CHUECOS-FONT" userId="7e57acaa-4bc6-4644-8edc-0ecdded28594" providerId="ADAL" clId="{E0E3BE12-C07A-444A-8793-83B43DDD5D85}" dt="2021-02-26T12:57:59.351" v="2816" actId="26606"/>
          <ac:spMkLst>
            <pc:docMk/>
            <pc:sldMk cId="1508637551" sldId="794"/>
            <ac:spMk id="2" creationId="{232A2D28-A06C-48FD-ABB4-EB7E27B84308}"/>
          </ac:spMkLst>
        </pc:spChg>
        <pc:spChg chg="del">
          <ac:chgData name="christophe CHUECOS-FONT" userId="7e57acaa-4bc6-4644-8edc-0ecdded28594" providerId="ADAL" clId="{E0E3BE12-C07A-444A-8793-83B43DDD5D85}" dt="2021-02-26T12:57:59.351" v="2816" actId="26606"/>
          <ac:spMkLst>
            <pc:docMk/>
            <pc:sldMk cId="1508637551" sldId="794"/>
            <ac:spMk id="11" creationId="{982413CC-69E6-4BDA-A88D-E4EF8F95B27D}"/>
          </ac:spMkLst>
        </pc:spChg>
        <pc:spChg chg="add">
          <ac:chgData name="christophe CHUECOS-FONT" userId="7e57acaa-4bc6-4644-8edc-0ecdded28594" providerId="ADAL" clId="{E0E3BE12-C07A-444A-8793-83B43DDD5D85}" dt="2021-02-26T12:57:59.351" v="2816" actId="26606"/>
          <ac:spMkLst>
            <pc:docMk/>
            <pc:sldMk cId="1508637551" sldId="794"/>
            <ac:spMk id="39" creationId="{E8F175C6-C15F-4DB0-8423-A1EF4AADC813}"/>
          </ac:spMkLst>
        </pc:spChg>
        <pc:grpChg chg="del">
          <ac:chgData name="christophe CHUECOS-FONT" userId="7e57acaa-4bc6-4644-8edc-0ecdded28594" providerId="ADAL" clId="{E0E3BE12-C07A-444A-8793-83B43DDD5D85}" dt="2021-02-26T12:57:59.351" v="2816" actId="26606"/>
          <ac:grpSpMkLst>
            <pc:docMk/>
            <pc:sldMk cId="1508637551" sldId="794"/>
            <ac:grpSpMk id="13" creationId="{4F1F7357-8633-4CE7-BF80-475EE8A2FAEA}"/>
          </ac:grpSpMkLst>
        </pc:grpChg>
        <pc:graphicFrameChg chg="mod ord modGraphic">
          <ac:chgData name="christophe CHUECOS-FONT" userId="7e57acaa-4bc6-4644-8edc-0ecdded28594" providerId="ADAL" clId="{E0E3BE12-C07A-444A-8793-83B43DDD5D85}" dt="2021-02-26T12:58:24.039" v="2820" actId="1076"/>
          <ac:graphicFrameMkLst>
            <pc:docMk/>
            <pc:sldMk cId="1508637551" sldId="794"/>
            <ac:graphicFrameMk id="6" creationId="{4A6E514C-D3C4-4B29-BB5C-DB98C7CA5742}"/>
          </ac:graphicFrameMkLst>
        </pc:graphicFrameChg>
      </pc:sldChg>
      <pc:sldChg chg="modSp add mod">
        <pc:chgData name="christophe CHUECOS-FONT" userId="7e57acaa-4bc6-4644-8edc-0ecdded28594" providerId="ADAL" clId="{E0E3BE12-C07A-444A-8793-83B43DDD5D85}" dt="2021-02-26T13:03:22.927" v="2894" actId="14100"/>
        <pc:sldMkLst>
          <pc:docMk/>
          <pc:sldMk cId="348824562" sldId="795"/>
        </pc:sldMkLst>
        <pc:spChg chg="mod">
          <ac:chgData name="christophe CHUECOS-FONT" userId="7e57acaa-4bc6-4644-8edc-0ecdded28594" providerId="ADAL" clId="{E0E3BE12-C07A-444A-8793-83B43DDD5D85}" dt="2021-02-26T13:03:16.439" v="2893" actId="14100"/>
          <ac:spMkLst>
            <pc:docMk/>
            <pc:sldMk cId="348824562" sldId="795"/>
            <ac:spMk id="2" creationId="{232A2D28-A06C-48FD-ABB4-EB7E27B84308}"/>
          </ac:spMkLst>
        </pc:spChg>
        <pc:graphicFrameChg chg="mod">
          <ac:chgData name="christophe CHUECOS-FONT" userId="7e57acaa-4bc6-4644-8edc-0ecdded28594" providerId="ADAL" clId="{E0E3BE12-C07A-444A-8793-83B43DDD5D85}" dt="2021-02-26T13:03:22.927" v="2894" actId="14100"/>
          <ac:graphicFrameMkLst>
            <pc:docMk/>
            <pc:sldMk cId="348824562" sldId="795"/>
            <ac:graphicFrameMk id="6" creationId="{4A6E514C-D3C4-4B29-BB5C-DB98C7CA5742}"/>
          </ac:graphicFrameMkLst>
        </pc:graphicFrameChg>
      </pc:sldChg>
      <pc:sldChg chg="modSp add mod">
        <pc:chgData name="christophe CHUECOS-FONT" userId="7e57acaa-4bc6-4644-8edc-0ecdded28594" providerId="ADAL" clId="{E0E3BE12-C07A-444A-8793-83B43DDD5D85}" dt="2021-02-26T13:07:02.620" v="3107" actId="313"/>
        <pc:sldMkLst>
          <pc:docMk/>
          <pc:sldMk cId="2744456229" sldId="796"/>
        </pc:sldMkLst>
        <pc:spChg chg="mod">
          <ac:chgData name="christophe CHUECOS-FONT" userId="7e57acaa-4bc6-4644-8edc-0ecdded28594" providerId="ADAL" clId="{E0E3BE12-C07A-444A-8793-83B43DDD5D85}" dt="2021-02-26T13:07:02.620" v="3107" actId="313"/>
          <ac:spMkLst>
            <pc:docMk/>
            <pc:sldMk cId="2744456229" sldId="796"/>
            <ac:spMk id="2" creationId="{232A2D28-A06C-48FD-ABB4-EB7E27B84308}"/>
          </ac:spMkLst>
        </pc:spChg>
        <pc:graphicFrameChg chg="mod">
          <ac:chgData name="christophe CHUECOS-FONT" userId="7e57acaa-4bc6-4644-8edc-0ecdded28594" providerId="ADAL" clId="{E0E3BE12-C07A-444A-8793-83B43DDD5D85}" dt="2021-02-26T13:06:50.925" v="3103" actId="20577"/>
          <ac:graphicFrameMkLst>
            <pc:docMk/>
            <pc:sldMk cId="2744456229" sldId="796"/>
            <ac:graphicFrameMk id="6" creationId="{4A6E514C-D3C4-4B29-BB5C-DB98C7CA5742}"/>
          </ac:graphicFrameMkLst>
        </pc:graphicFrameChg>
      </pc:sldChg>
      <pc:sldChg chg="modSp add mod">
        <pc:chgData name="christophe CHUECOS-FONT" userId="7e57acaa-4bc6-4644-8edc-0ecdded28594" providerId="ADAL" clId="{E0E3BE12-C07A-444A-8793-83B43DDD5D85}" dt="2021-02-26T13:17:18.275" v="3363" actId="20577"/>
        <pc:sldMkLst>
          <pc:docMk/>
          <pc:sldMk cId="1270884533" sldId="797"/>
        </pc:sldMkLst>
        <pc:spChg chg="mod">
          <ac:chgData name="christophe CHUECOS-FONT" userId="7e57acaa-4bc6-4644-8edc-0ecdded28594" providerId="ADAL" clId="{E0E3BE12-C07A-444A-8793-83B43DDD5D85}" dt="2021-02-26T13:17:13.424" v="3362" actId="6549"/>
          <ac:spMkLst>
            <pc:docMk/>
            <pc:sldMk cId="1270884533" sldId="797"/>
            <ac:spMk id="2" creationId="{232A2D28-A06C-48FD-ABB4-EB7E27B84308}"/>
          </ac:spMkLst>
        </pc:spChg>
        <pc:graphicFrameChg chg="mod">
          <ac:chgData name="christophe CHUECOS-FONT" userId="7e57acaa-4bc6-4644-8edc-0ecdded28594" providerId="ADAL" clId="{E0E3BE12-C07A-444A-8793-83B43DDD5D85}" dt="2021-02-26T13:17:18.275" v="3363" actId="20577"/>
          <ac:graphicFrameMkLst>
            <pc:docMk/>
            <pc:sldMk cId="1270884533" sldId="797"/>
            <ac:graphicFrameMk id="6" creationId="{4A6E514C-D3C4-4B29-BB5C-DB98C7CA5742}"/>
          </ac:graphicFrameMkLst>
        </pc:graphicFrameChg>
      </pc:sldChg>
      <pc:sldChg chg="modSp add mod">
        <pc:chgData name="christophe CHUECOS-FONT" userId="7e57acaa-4bc6-4644-8edc-0ecdded28594" providerId="ADAL" clId="{E0E3BE12-C07A-444A-8793-83B43DDD5D85}" dt="2021-02-26T13:17:51.751" v="3388" actId="20577"/>
        <pc:sldMkLst>
          <pc:docMk/>
          <pc:sldMk cId="1165143180" sldId="798"/>
        </pc:sldMkLst>
        <pc:spChg chg="mod">
          <ac:chgData name="christophe CHUECOS-FONT" userId="7e57acaa-4bc6-4644-8edc-0ecdded28594" providerId="ADAL" clId="{E0E3BE12-C07A-444A-8793-83B43DDD5D85}" dt="2021-02-26T13:17:37.799" v="3364"/>
          <ac:spMkLst>
            <pc:docMk/>
            <pc:sldMk cId="1165143180" sldId="798"/>
            <ac:spMk id="2" creationId="{232A2D28-A06C-48FD-ABB4-EB7E27B84308}"/>
          </ac:spMkLst>
        </pc:spChg>
        <pc:graphicFrameChg chg="mod">
          <ac:chgData name="christophe CHUECOS-FONT" userId="7e57acaa-4bc6-4644-8edc-0ecdded28594" providerId="ADAL" clId="{E0E3BE12-C07A-444A-8793-83B43DDD5D85}" dt="2021-02-26T13:17:51.751" v="3388" actId="20577"/>
          <ac:graphicFrameMkLst>
            <pc:docMk/>
            <pc:sldMk cId="1165143180" sldId="798"/>
            <ac:graphicFrameMk id="6" creationId="{4A6E514C-D3C4-4B29-BB5C-DB98C7CA5742}"/>
          </ac:graphicFrameMkLst>
        </pc:graphicFrameChg>
      </pc:sldChg>
      <pc:sldChg chg="modSp add mod">
        <pc:chgData name="christophe CHUECOS-FONT" userId="7e57acaa-4bc6-4644-8edc-0ecdded28594" providerId="ADAL" clId="{E0E3BE12-C07A-444A-8793-83B43DDD5D85}" dt="2021-02-26T13:16:52.086" v="3299" actId="20577"/>
        <pc:sldMkLst>
          <pc:docMk/>
          <pc:sldMk cId="101625330" sldId="799"/>
        </pc:sldMkLst>
        <pc:spChg chg="mod">
          <ac:chgData name="christophe CHUECOS-FONT" userId="7e57acaa-4bc6-4644-8edc-0ecdded28594" providerId="ADAL" clId="{E0E3BE12-C07A-444A-8793-83B43DDD5D85}" dt="2021-02-26T13:16:52.086" v="3299" actId="20577"/>
          <ac:spMkLst>
            <pc:docMk/>
            <pc:sldMk cId="101625330" sldId="799"/>
            <ac:spMk id="2" creationId="{232A2D28-A06C-48FD-ABB4-EB7E27B84308}"/>
          </ac:spMkLst>
        </pc:spChg>
        <pc:graphicFrameChg chg="mod">
          <ac:chgData name="christophe CHUECOS-FONT" userId="7e57acaa-4bc6-4644-8edc-0ecdded28594" providerId="ADAL" clId="{E0E3BE12-C07A-444A-8793-83B43DDD5D85}" dt="2021-02-26T13:14:04.599" v="3151" actId="20577"/>
          <ac:graphicFrameMkLst>
            <pc:docMk/>
            <pc:sldMk cId="101625330" sldId="799"/>
            <ac:graphicFrameMk id="6" creationId="{4A6E514C-D3C4-4B29-BB5C-DB98C7CA5742}"/>
          </ac:graphicFrameMkLst>
        </pc:graphicFrameChg>
      </pc:sldChg>
      <pc:sldChg chg="modSp add mod">
        <pc:chgData name="christophe CHUECOS-FONT" userId="7e57acaa-4bc6-4644-8edc-0ecdded28594" providerId="ADAL" clId="{E0E3BE12-C07A-444A-8793-83B43DDD5D85}" dt="2021-02-26T13:16:34.781" v="3257"/>
        <pc:sldMkLst>
          <pc:docMk/>
          <pc:sldMk cId="2768516613" sldId="800"/>
        </pc:sldMkLst>
        <pc:spChg chg="mod">
          <ac:chgData name="christophe CHUECOS-FONT" userId="7e57acaa-4bc6-4644-8edc-0ecdded28594" providerId="ADAL" clId="{E0E3BE12-C07A-444A-8793-83B43DDD5D85}" dt="2021-02-26T13:16:17.922" v="3229" actId="20577"/>
          <ac:spMkLst>
            <pc:docMk/>
            <pc:sldMk cId="2768516613" sldId="800"/>
            <ac:spMk id="2" creationId="{232A2D28-A06C-48FD-ABB4-EB7E27B84308}"/>
          </ac:spMkLst>
        </pc:spChg>
        <pc:graphicFrameChg chg="mod">
          <ac:chgData name="christophe CHUECOS-FONT" userId="7e57acaa-4bc6-4644-8edc-0ecdded28594" providerId="ADAL" clId="{E0E3BE12-C07A-444A-8793-83B43DDD5D85}" dt="2021-02-26T13:16:34.781" v="3257"/>
          <ac:graphicFrameMkLst>
            <pc:docMk/>
            <pc:sldMk cId="2768516613" sldId="800"/>
            <ac:graphicFrameMk id="6" creationId="{4A6E514C-D3C4-4B29-BB5C-DB98C7CA5742}"/>
          </ac:graphicFrameMkLst>
        </pc:graphicFrameChg>
      </pc:sldChg>
    </pc:docChg>
  </pc:docChgLst>
  <pc:docChgLst>
    <pc:chgData name="christophe CHUECOS-FONT" userId="7e57acaa-4bc6-4644-8edc-0ecdded28594" providerId="ADAL" clId="{9817B8E0-72E5-4A80-920F-95B62F123057}"/>
    <pc:docChg chg="undo custSel addSld delSld modSld sldOrd">
      <pc:chgData name="christophe CHUECOS-FONT" userId="7e57acaa-4bc6-4644-8edc-0ecdded28594" providerId="ADAL" clId="{9817B8E0-72E5-4A80-920F-95B62F123057}" dt="2021-02-05T13:29:54.453" v="3222" actId="21"/>
      <pc:docMkLst>
        <pc:docMk/>
      </pc:docMkLst>
      <pc:sldChg chg="addSp modSp mod setBg setClrOvrMap">
        <pc:chgData name="christophe CHUECOS-FONT" userId="7e57acaa-4bc6-4644-8edc-0ecdded28594" providerId="ADAL" clId="{9817B8E0-72E5-4A80-920F-95B62F123057}" dt="2021-02-05T12:24:16.456" v="2136" actId="27636"/>
        <pc:sldMkLst>
          <pc:docMk/>
          <pc:sldMk cId="3848639155" sldId="256"/>
        </pc:sldMkLst>
        <pc:spChg chg="mod">
          <ac:chgData name="christophe CHUECOS-FONT" userId="7e57acaa-4bc6-4644-8edc-0ecdded28594" providerId="ADAL" clId="{9817B8E0-72E5-4A80-920F-95B62F123057}" dt="2021-02-05T12:24:00.339" v="2134" actId="27636"/>
          <ac:spMkLst>
            <pc:docMk/>
            <pc:sldMk cId="3848639155" sldId="256"/>
            <ac:spMk id="2" creationId="{CF09AF2F-022D-42E7-9EE8-B11BCE898DAB}"/>
          </ac:spMkLst>
        </pc:spChg>
        <pc:spChg chg="mod">
          <ac:chgData name="christophe CHUECOS-FONT" userId="7e57acaa-4bc6-4644-8edc-0ecdded28594" providerId="ADAL" clId="{9817B8E0-72E5-4A80-920F-95B62F123057}" dt="2021-02-05T12:24:16.456" v="2136" actId="27636"/>
          <ac:spMkLst>
            <pc:docMk/>
            <pc:sldMk cId="3848639155" sldId="256"/>
            <ac:spMk id="3" creationId="{21349F9F-31B4-41DC-B4DB-C097467B5266}"/>
          </ac:spMkLst>
        </pc:spChg>
        <pc:spChg chg="add">
          <ac:chgData name="christophe CHUECOS-FONT" userId="7e57acaa-4bc6-4644-8edc-0ecdded28594" providerId="ADAL" clId="{9817B8E0-72E5-4A80-920F-95B62F123057}" dt="2021-02-05T11:22:21.187" v="69" actId="26606"/>
          <ac:spMkLst>
            <pc:docMk/>
            <pc:sldMk cId="3848639155" sldId="256"/>
            <ac:spMk id="9" creationId="{E49CC64F-7275-4E33-961B-0C5CDC439875}"/>
          </ac:spMkLst>
        </pc:spChg>
        <pc:picChg chg="add">
          <ac:chgData name="christophe CHUECOS-FONT" userId="7e57acaa-4bc6-4644-8edc-0ecdded28594" providerId="ADAL" clId="{9817B8E0-72E5-4A80-920F-95B62F123057}" dt="2021-02-05T11:22:21.187" v="69" actId="26606"/>
          <ac:picMkLst>
            <pc:docMk/>
            <pc:sldMk cId="3848639155" sldId="256"/>
            <ac:picMk id="5" creationId="{7BB6D41E-7376-4805-B0B6-C72AFA381B66}"/>
          </ac:picMkLst>
        </pc:picChg>
      </pc:sldChg>
      <pc:sldChg chg="modSp del mod">
        <pc:chgData name="christophe CHUECOS-FONT" userId="7e57acaa-4bc6-4644-8edc-0ecdded28594" providerId="ADAL" clId="{9817B8E0-72E5-4A80-920F-95B62F123057}" dt="2021-02-05T11:33:50.202" v="489" actId="47"/>
        <pc:sldMkLst>
          <pc:docMk/>
          <pc:sldMk cId="206537414" sldId="257"/>
        </pc:sldMkLst>
        <pc:spChg chg="mod">
          <ac:chgData name="christophe CHUECOS-FONT" userId="7e57acaa-4bc6-4644-8edc-0ecdded28594" providerId="ADAL" clId="{9817B8E0-72E5-4A80-920F-95B62F123057}" dt="2021-02-05T11:27:44.214" v="211" actId="688"/>
          <ac:spMkLst>
            <pc:docMk/>
            <pc:sldMk cId="206537414" sldId="257"/>
            <ac:spMk id="2" creationId="{1C3FB199-37AF-4AEB-91D2-99997345373F}"/>
          </ac:spMkLst>
        </pc:spChg>
        <pc:spChg chg="mod">
          <ac:chgData name="christophe CHUECOS-FONT" userId="7e57acaa-4bc6-4644-8edc-0ecdded28594" providerId="ADAL" clId="{9817B8E0-72E5-4A80-920F-95B62F123057}" dt="2021-02-05T11:27:53.275" v="212" actId="21"/>
          <ac:spMkLst>
            <pc:docMk/>
            <pc:sldMk cId="206537414" sldId="257"/>
            <ac:spMk id="4" creationId="{46D878E7-F5C5-452B-937D-8840816B6ECF}"/>
          </ac:spMkLst>
        </pc:spChg>
      </pc:sldChg>
      <pc:sldChg chg="del">
        <pc:chgData name="christophe CHUECOS-FONT" userId="7e57acaa-4bc6-4644-8edc-0ecdded28594" providerId="ADAL" clId="{9817B8E0-72E5-4A80-920F-95B62F123057}" dt="2021-02-05T11:48:37.765" v="1181" actId="47"/>
        <pc:sldMkLst>
          <pc:docMk/>
          <pc:sldMk cId="3809771353" sldId="258"/>
        </pc:sldMkLst>
      </pc:sldChg>
      <pc:sldChg chg="modSp mod ord">
        <pc:chgData name="christophe CHUECOS-FONT" userId="7e57acaa-4bc6-4644-8edc-0ecdded28594" providerId="ADAL" clId="{9817B8E0-72E5-4A80-920F-95B62F123057}" dt="2021-02-05T12:24:32.328" v="2138" actId="2711"/>
        <pc:sldMkLst>
          <pc:docMk/>
          <pc:sldMk cId="3714222650" sldId="259"/>
        </pc:sldMkLst>
        <pc:spChg chg="mod">
          <ac:chgData name="christophe CHUECOS-FONT" userId="7e57acaa-4bc6-4644-8edc-0ecdded28594" providerId="ADAL" clId="{9817B8E0-72E5-4A80-920F-95B62F123057}" dt="2021-02-05T12:24:32.328" v="2138" actId="2711"/>
          <ac:spMkLst>
            <pc:docMk/>
            <pc:sldMk cId="3714222650" sldId="259"/>
            <ac:spMk id="2" creationId="{1C3FB199-37AF-4AEB-91D2-99997345373F}"/>
          </ac:spMkLst>
        </pc:spChg>
        <pc:spChg chg="mod">
          <ac:chgData name="christophe CHUECOS-FONT" userId="7e57acaa-4bc6-4644-8edc-0ecdded28594" providerId="ADAL" clId="{9817B8E0-72E5-4A80-920F-95B62F123057}" dt="2021-02-05T12:24:26.880" v="2137" actId="2711"/>
          <ac:spMkLst>
            <pc:docMk/>
            <pc:sldMk cId="3714222650" sldId="259"/>
            <ac:spMk id="3" creationId="{775A997C-8194-4B08-BB3E-D1F92744FD2D}"/>
          </ac:spMkLst>
        </pc:spChg>
      </pc:sldChg>
      <pc:sldChg chg="del">
        <pc:chgData name="christophe CHUECOS-FONT" userId="7e57acaa-4bc6-4644-8edc-0ecdded28594" providerId="ADAL" clId="{9817B8E0-72E5-4A80-920F-95B62F123057}" dt="2021-02-05T11:48:37.765" v="1181" actId="47"/>
        <pc:sldMkLst>
          <pc:docMk/>
          <pc:sldMk cId="2379008173" sldId="261"/>
        </pc:sldMkLst>
      </pc:sldChg>
      <pc:sldChg chg="del">
        <pc:chgData name="christophe CHUECOS-FONT" userId="7e57acaa-4bc6-4644-8edc-0ecdded28594" providerId="ADAL" clId="{9817B8E0-72E5-4A80-920F-95B62F123057}" dt="2021-02-05T11:48:37.765" v="1181" actId="47"/>
        <pc:sldMkLst>
          <pc:docMk/>
          <pc:sldMk cId="2864700410" sldId="266"/>
        </pc:sldMkLst>
      </pc:sldChg>
      <pc:sldChg chg="del">
        <pc:chgData name="christophe CHUECOS-FONT" userId="7e57acaa-4bc6-4644-8edc-0ecdded28594" providerId="ADAL" clId="{9817B8E0-72E5-4A80-920F-95B62F123057}" dt="2021-02-05T11:48:37.765" v="1181" actId="47"/>
        <pc:sldMkLst>
          <pc:docMk/>
          <pc:sldMk cId="997367023" sldId="267"/>
        </pc:sldMkLst>
      </pc:sldChg>
      <pc:sldChg chg="del">
        <pc:chgData name="christophe CHUECOS-FONT" userId="7e57acaa-4bc6-4644-8edc-0ecdded28594" providerId="ADAL" clId="{9817B8E0-72E5-4A80-920F-95B62F123057}" dt="2021-02-05T11:48:37.765" v="1181" actId="47"/>
        <pc:sldMkLst>
          <pc:docMk/>
          <pc:sldMk cId="2362574531" sldId="269"/>
        </pc:sldMkLst>
      </pc:sldChg>
      <pc:sldChg chg="del">
        <pc:chgData name="christophe CHUECOS-FONT" userId="7e57acaa-4bc6-4644-8edc-0ecdded28594" providerId="ADAL" clId="{9817B8E0-72E5-4A80-920F-95B62F123057}" dt="2021-02-05T12:37:10.431" v="2312" actId="47"/>
        <pc:sldMkLst>
          <pc:docMk/>
          <pc:sldMk cId="2390251229" sldId="270"/>
        </pc:sldMkLst>
      </pc:sldChg>
      <pc:sldChg chg="addSp delSp modSp mod setBg">
        <pc:chgData name="christophe CHUECOS-FONT" userId="7e57acaa-4bc6-4644-8edc-0ecdded28594" providerId="ADAL" clId="{9817B8E0-72E5-4A80-920F-95B62F123057}" dt="2021-02-05T12:24:44.312" v="2140" actId="2711"/>
        <pc:sldMkLst>
          <pc:docMk/>
          <pc:sldMk cId="251691404" sldId="276"/>
        </pc:sldMkLst>
        <pc:spChg chg="mod">
          <ac:chgData name="christophe CHUECOS-FONT" userId="7e57acaa-4bc6-4644-8edc-0ecdded28594" providerId="ADAL" clId="{9817B8E0-72E5-4A80-920F-95B62F123057}" dt="2021-02-05T12:24:37.845" v="2139" actId="2711"/>
          <ac:spMkLst>
            <pc:docMk/>
            <pc:sldMk cId="251691404" sldId="276"/>
            <ac:spMk id="2" creationId="{1C3FB199-37AF-4AEB-91D2-99997345373F}"/>
          </ac:spMkLst>
        </pc:spChg>
        <pc:spChg chg="mod">
          <ac:chgData name="christophe CHUECOS-FONT" userId="7e57acaa-4bc6-4644-8edc-0ecdded28594" providerId="ADAL" clId="{9817B8E0-72E5-4A80-920F-95B62F123057}" dt="2021-02-05T11:33:58.770" v="492" actId="6549"/>
          <ac:spMkLst>
            <pc:docMk/>
            <pc:sldMk cId="251691404" sldId="276"/>
            <ac:spMk id="4" creationId="{46D878E7-F5C5-452B-937D-8840816B6ECF}"/>
          </ac:spMkLst>
        </pc:spChg>
        <pc:spChg chg="del">
          <ac:chgData name="christophe CHUECOS-FONT" userId="7e57acaa-4bc6-4644-8edc-0ecdded28594" providerId="ADAL" clId="{9817B8E0-72E5-4A80-920F-95B62F123057}" dt="2021-02-05T11:44:29.363" v="997" actId="26606"/>
          <ac:spMkLst>
            <pc:docMk/>
            <pc:sldMk cId="251691404" sldId="276"/>
            <ac:spMk id="35" creationId="{A3BAF07C-C39E-42EB-BB22-8D46691D9735}"/>
          </ac:spMkLst>
        </pc:spChg>
        <pc:spChg chg="del">
          <ac:chgData name="christophe CHUECOS-FONT" userId="7e57acaa-4bc6-4644-8edc-0ecdded28594" providerId="ADAL" clId="{9817B8E0-72E5-4A80-920F-95B62F123057}" dt="2021-02-05T11:44:29.363" v="997" actId="26606"/>
          <ac:spMkLst>
            <pc:docMk/>
            <pc:sldMk cId="251691404" sldId="276"/>
            <ac:spMk id="36" creationId="{A7795DFA-888F-47E2-B44E-DE1D3B3E46A4}"/>
          </ac:spMkLst>
        </pc:spChg>
        <pc:grpChg chg="del">
          <ac:chgData name="christophe CHUECOS-FONT" userId="7e57acaa-4bc6-4644-8edc-0ecdded28594" providerId="ADAL" clId="{9817B8E0-72E5-4A80-920F-95B62F123057}" dt="2021-02-05T11:44:29.363" v="997" actId="26606"/>
          <ac:grpSpMkLst>
            <pc:docMk/>
            <pc:sldMk cId="251691404" sldId="276"/>
            <ac:grpSpMk id="37" creationId="{D8E9CF54-0466-4261-9E62-0249E60E1886}"/>
          </ac:grpSpMkLst>
        </pc:grpChg>
        <pc:graphicFrameChg chg="add mod modGraphic">
          <ac:chgData name="christophe CHUECOS-FONT" userId="7e57acaa-4bc6-4644-8edc-0ecdded28594" providerId="ADAL" clId="{9817B8E0-72E5-4A80-920F-95B62F123057}" dt="2021-02-05T12:24:44.312" v="2140" actId="2711"/>
          <ac:graphicFrameMkLst>
            <pc:docMk/>
            <pc:sldMk cId="251691404" sldId="276"/>
            <ac:graphicFrameMk id="3" creationId="{90A39BD7-E179-4570-8079-E6A295B49267}"/>
          </ac:graphicFrameMkLst>
        </pc:graphicFrameChg>
        <pc:picChg chg="del">
          <ac:chgData name="christophe CHUECOS-FONT" userId="7e57acaa-4bc6-4644-8edc-0ecdded28594" providerId="ADAL" clId="{9817B8E0-72E5-4A80-920F-95B62F123057}" dt="2021-02-05T11:34:01.422" v="493" actId="478"/>
          <ac:picMkLst>
            <pc:docMk/>
            <pc:sldMk cId="251691404" sldId="276"/>
            <ac:picMk id="5" creationId="{FDB63342-D046-498C-9EBC-55F07AABEE34}"/>
          </ac:picMkLst>
        </pc:picChg>
      </pc:sldChg>
      <pc:sldChg chg="del">
        <pc:chgData name="christophe CHUECOS-FONT" userId="7e57acaa-4bc6-4644-8edc-0ecdded28594" providerId="ADAL" clId="{9817B8E0-72E5-4A80-920F-95B62F123057}" dt="2021-02-05T11:33:50.658" v="490" actId="47"/>
        <pc:sldMkLst>
          <pc:docMk/>
          <pc:sldMk cId="2397986130" sldId="277"/>
        </pc:sldMkLst>
      </pc:sldChg>
      <pc:sldChg chg="del">
        <pc:chgData name="christophe CHUECOS-FONT" userId="7e57acaa-4bc6-4644-8edc-0ecdded28594" providerId="ADAL" clId="{9817B8E0-72E5-4A80-920F-95B62F123057}" dt="2021-02-05T11:48:37.765" v="1181" actId="47"/>
        <pc:sldMkLst>
          <pc:docMk/>
          <pc:sldMk cId="3681988257" sldId="278"/>
        </pc:sldMkLst>
      </pc:sldChg>
      <pc:sldChg chg="del">
        <pc:chgData name="christophe CHUECOS-FONT" userId="7e57acaa-4bc6-4644-8edc-0ecdded28594" providerId="ADAL" clId="{9817B8E0-72E5-4A80-920F-95B62F123057}" dt="2021-02-05T11:48:37.765" v="1181" actId="47"/>
        <pc:sldMkLst>
          <pc:docMk/>
          <pc:sldMk cId="2204652671" sldId="279"/>
        </pc:sldMkLst>
      </pc:sldChg>
      <pc:sldChg chg="del">
        <pc:chgData name="christophe CHUECOS-FONT" userId="7e57acaa-4bc6-4644-8edc-0ecdded28594" providerId="ADAL" clId="{9817B8E0-72E5-4A80-920F-95B62F123057}" dt="2021-02-05T11:48:37.765" v="1181" actId="47"/>
        <pc:sldMkLst>
          <pc:docMk/>
          <pc:sldMk cId="2034358850" sldId="280"/>
        </pc:sldMkLst>
      </pc:sldChg>
      <pc:sldChg chg="del">
        <pc:chgData name="christophe CHUECOS-FONT" userId="7e57acaa-4bc6-4644-8edc-0ecdded28594" providerId="ADAL" clId="{9817B8E0-72E5-4A80-920F-95B62F123057}" dt="2021-02-05T11:48:37.765" v="1181" actId="47"/>
        <pc:sldMkLst>
          <pc:docMk/>
          <pc:sldMk cId="4019404366" sldId="281"/>
        </pc:sldMkLst>
      </pc:sldChg>
      <pc:sldChg chg="del">
        <pc:chgData name="christophe CHUECOS-FONT" userId="7e57acaa-4bc6-4644-8edc-0ecdded28594" providerId="ADAL" clId="{9817B8E0-72E5-4A80-920F-95B62F123057}" dt="2021-02-05T11:48:37.765" v="1181" actId="47"/>
        <pc:sldMkLst>
          <pc:docMk/>
          <pc:sldMk cId="3584520135" sldId="282"/>
        </pc:sldMkLst>
      </pc:sldChg>
      <pc:sldChg chg="del">
        <pc:chgData name="christophe CHUECOS-FONT" userId="7e57acaa-4bc6-4644-8edc-0ecdded28594" providerId="ADAL" clId="{9817B8E0-72E5-4A80-920F-95B62F123057}" dt="2021-02-05T11:48:37.765" v="1181" actId="47"/>
        <pc:sldMkLst>
          <pc:docMk/>
          <pc:sldMk cId="2467058271" sldId="283"/>
        </pc:sldMkLst>
      </pc:sldChg>
      <pc:sldChg chg="addSp delSp modSp mod setBg delDesignElem">
        <pc:chgData name="christophe CHUECOS-FONT" userId="7e57acaa-4bc6-4644-8edc-0ecdded28594" providerId="ADAL" clId="{9817B8E0-72E5-4A80-920F-95B62F123057}" dt="2021-02-05T13:27:44.496" v="3207" actId="26606"/>
        <pc:sldMkLst>
          <pc:docMk/>
          <pc:sldMk cId="3185261458" sldId="285"/>
        </pc:sldMkLst>
        <pc:spChg chg="mod">
          <ac:chgData name="christophe CHUECOS-FONT" userId="7e57acaa-4bc6-4644-8edc-0ecdded28594" providerId="ADAL" clId="{9817B8E0-72E5-4A80-920F-95B62F123057}" dt="2021-02-05T13:27:44.496" v="3207" actId="26606"/>
          <ac:spMkLst>
            <pc:docMk/>
            <pc:sldMk cId="3185261458" sldId="285"/>
            <ac:spMk id="2" creationId="{00000000-0000-0000-0000-000000000000}"/>
          </ac:spMkLst>
        </pc:spChg>
        <pc:spChg chg="mod">
          <ac:chgData name="christophe CHUECOS-FONT" userId="7e57acaa-4bc6-4644-8edc-0ecdded28594" providerId="ADAL" clId="{9817B8E0-72E5-4A80-920F-95B62F123057}" dt="2021-02-05T13:27:44.496" v="3207" actId="26606"/>
          <ac:spMkLst>
            <pc:docMk/>
            <pc:sldMk cId="3185261458" sldId="285"/>
            <ac:spMk id="10" creationId="{2104DD9E-7F53-465D-8561-41BB61362ACA}"/>
          </ac:spMkLst>
        </pc:spChg>
        <pc:spChg chg="add del">
          <ac:chgData name="christophe CHUECOS-FONT" userId="7e57acaa-4bc6-4644-8edc-0ecdded28594" providerId="ADAL" clId="{9817B8E0-72E5-4A80-920F-95B62F123057}" dt="2021-02-05T13:27:44.480" v="3206" actId="26606"/>
          <ac:spMkLst>
            <pc:docMk/>
            <pc:sldMk cId="3185261458" sldId="285"/>
            <ac:spMk id="15" creationId="{5C8908E2-EE49-44D2-9428-A28D2312A8D5}"/>
          </ac:spMkLst>
        </pc:spChg>
        <pc:spChg chg="add del">
          <ac:chgData name="christophe CHUECOS-FONT" userId="7e57acaa-4bc6-4644-8edc-0ecdded28594" providerId="ADAL" clId="{9817B8E0-72E5-4A80-920F-95B62F123057}" dt="2021-02-05T13:27:44.480" v="3206" actId="26606"/>
          <ac:spMkLst>
            <pc:docMk/>
            <pc:sldMk cId="3185261458" sldId="285"/>
            <ac:spMk id="21" creationId="{47159AC2-C98F-4C93-B774-B19EE1BEBDB1}"/>
          </ac:spMkLst>
        </pc:spChg>
        <pc:spChg chg="add del">
          <ac:chgData name="christophe CHUECOS-FONT" userId="7e57acaa-4bc6-4644-8edc-0ecdded28594" providerId="ADAL" clId="{9817B8E0-72E5-4A80-920F-95B62F123057}" dt="2021-02-05T13:27:44.480" v="3206" actId="26606"/>
          <ac:spMkLst>
            <pc:docMk/>
            <pc:sldMk cId="3185261458" sldId="285"/>
            <ac:spMk id="23" creationId="{ED888B23-07FA-482A-96DF-47E31AF1A603}"/>
          </ac:spMkLst>
        </pc:spChg>
        <pc:spChg chg="add">
          <ac:chgData name="christophe CHUECOS-FONT" userId="7e57acaa-4bc6-4644-8edc-0ecdded28594" providerId="ADAL" clId="{9817B8E0-72E5-4A80-920F-95B62F123057}" dt="2021-02-05T13:27:44.496" v="3207" actId="26606"/>
          <ac:spMkLst>
            <pc:docMk/>
            <pc:sldMk cId="3185261458" sldId="285"/>
            <ac:spMk id="25" creationId="{777A147A-9ED8-46B4-8660-1B3C2AA880B5}"/>
          </ac:spMkLst>
        </pc:spChg>
        <pc:spChg chg="add">
          <ac:chgData name="christophe CHUECOS-FONT" userId="7e57acaa-4bc6-4644-8edc-0ecdded28594" providerId="ADAL" clId="{9817B8E0-72E5-4A80-920F-95B62F123057}" dt="2021-02-05T13:27:44.496" v="3207" actId="26606"/>
          <ac:spMkLst>
            <pc:docMk/>
            <pc:sldMk cId="3185261458" sldId="285"/>
            <ac:spMk id="26" creationId="{5D6C15A0-C087-4593-8414-2B4EC1CDC3DE}"/>
          </ac:spMkLst>
        </pc:spChg>
        <pc:grpChg chg="add del">
          <ac:chgData name="christophe CHUECOS-FONT" userId="7e57acaa-4bc6-4644-8edc-0ecdded28594" providerId="ADAL" clId="{9817B8E0-72E5-4A80-920F-95B62F123057}" dt="2021-02-05T13:27:44.480" v="3206" actId="26606"/>
          <ac:grpSpMkLst>
            <pc:docMk/>
            <pc:sldMk cId="3185261458" sldId="285"/>
            <ac:grpSpMk id="17" creationId="{8553B86A-3688-4590-934F-8CD074A9BF68}"/>
          </ac:grpSpMkLst>
        </pc:grpChg>
      </pc:sldChg>
      <pc:sldChg chg="modSp mod ord">
        <pc:chgData name="christophe CHUECOS-FONT" userId="7e57acaa-4bc6-4644-8edc-0ecdded28594" providerId="ADAL" clId="{9817B8E0-72E5-4A80-920F-95B62F123057}" dt="2021-02-05T12:40:00.548" v="2388" actId="113"/>
        <pc:sldMkLst>
          <pc:docMk/>
          <pc:sldMk cId="329831576" sldId="286"/>
        </pc:sldMkLst>
        <pc:spChg chg="mod">
          <ac:chgData name="christophe CHUECOS-FONT" userId="7e57acaa-4bc6-4644-8edc-0ecdded28594" providerId="ADAL" clId="{9817B8E0-72E5-4A80-920F-95B62F123057}" dt="2021-02-05T12:40:00.548" v="2388" actId="113"/>
          <ac:spMkLst>
            <pc:docMk/>
            <pc:sldMk cId="329831576" sldId="286"/>
            <ac:spMk id="3" creationId="{AE031ED6-BBEB-4F69-BB03-35ED79344BB4}"/>
          </ac:spMkLst>
        </pc:spChg>
      </pc:sldChg>
      <pc:sldChg chg="del ord">
        <pc:chgData name="christophe CHUECOS-FONT" userId="7e57acaa-4bc6-4644-8edc-0ecdded28594" providerId="ADAL" clId="{9817B8E0-72E5-4A80-920F-95B62F123057}" dt="2021-02-05T12:16:23.498" v="1888" actId="47"/>
        <pc:sldMkLst>
          <pc:docMk/>
          <pc:sldMk cId="2609074591" sldId="288"/>
        </pc:sldMkLst>
      </pc:sldChg>
      <pc:sldChg chg="del ord">
        <pc:chgData name="christophe CHUECOS-FONT" userId="7e57acaa-4bc6-4644-8edc-0ecdded28594" providerId="ADAL" clId="{9817B8E0-72E5-4A80-920F-95B62F123057}" dt="2021-02-05T12:37:41.579" v="2315" actId="47"/>
        <pc:sldMkLst>
          <pc:docMk/>
          <pc:sldMk cId="1567861560" sldId="289"/>
        </pc:sldMkLst>
      </pc:sldChg>
      <pc:sldChg chg="del">
        <pc:chgData name="christophe CHUECOS-FONT" userId="7e57acaa-4bc6-4644-8edc-0ecdded28594" providerId="ADAL" clId="{9817B8E0-72E5-4A80-920F-95B62F123057}" dt="2021-02-05T12:37:08.603" v="2311" actId="47"/>
        <pc:sldMkLst>
          <pc:docMk/>
          <pc:sldMk cId="244713211" sldId="291"/>
        </pc:sldMkLst>
      </pc:sldChg>
      <pc:sldChg chg="modSp mod ord">
        <pc:chgData name="christophe CHUECOS-FONT" userId="7e57acaa-4bc6-4644-8edc-0ecdded28594" providerId="ADAL" clId="{9817B8E0-72E5-4A80-920F-95B62F123057}" dt="2021-02-05T12:26:14.379" v="2163" actId="1076"/>
        <pc:sldMkLst>
          <pc:docMk/>
          <pc:sldMk cId="966349221" sldId="667"/>
        </pc:sldMkLst>
        <pc:spChg chg="mod">
          <ac:chgData name="christophe CHUECOS-FONT" userId="7e57acaa-4bc6-4644-8edc-0ecdded28594" providerId="ADAL" clId="{9817B8E0-72E5-4A80-920F-95B62F123057}" dt="2021-02-05T12:26:13.086" v="2162" actId="20577"/>
          <ac:spMkLst>
            <pc:docMk/>
            <pc:sldMk cId="966349221" sldId="667"/>
            <ac:spMk id="2" creationId="{02517F6E-26E9-44E8-815E-774552D95FD0}"/>
          </ac:spMkLst>
        </pc:spChg>
        <pc:picChg chg="mod">
          <ac:chgData name="christophe CHUECOS-FONT" userId="7e57acaa-4bc6-4644-8edc-0ecdded28594" providerId="ADAL" clId="{9817B8E0-72E5-4A80-920F-95B62F123057}" dt="2021-02-05T12:26:14.379" v="2163" actId="1076"/>
          <ac:picMkLst>
            <pc:docMk/>
            <pc:sldMk cId="966349221" sldId="667"/>
            <ac:picMk id="36" creationId="{FC9EF324-339C-4E46-9508-BF0C86AAC793}"/>
          </ac:picMkLst>
        </pc:picChg>
      </pc:sldChg>
      <pc:sldChg chg="ord">
        <pc:chgData name="christophe CHUECOS-FONT" userId="7e57acaa-4bc6-4644-8edc-0ecdded28594" providerId="ADAL" clId="{9817B8E0-72E5-4A80-920F-95B62F123057}" dt="2021-02-05T12:16:09.764" v="1883"/>
        <pc:sldMkLst>
          <pc:docMk/>
          <pc:sldMk cId="649958680" sldId="672"/>
        </pc:sldMkLst>
      </pc:sldChg>
      <pc:sldChg chg="addSp delSp modSp mod ord">
        <pc:chgData name="christophe CHUECOS-FONT" userId="7e57acaa-4bc6-4644-8edc-0ecdded28594" providerId="ADAL" clId="{9817B8E0-72E5-4A80-920F-95B62F123057}" dt="2021-02-05T12:15:34.143" v="1880" actId="6549"/>
        <pc:sldMkLst>
          <pc:docMk/>
          <pc:sldMk cId="3843576302" sldId="677"/>
        </pc:sldMkLst>
        <pc:spChg chg="mod">
          <ac:chgData name="christophe CHUECOS-FONT" userId="7e57acaa-4bc6-4644-8edc-0ecdded28594" providerId="ADAL" clId="{9817B8E0-72E5-4A80-920F-95B62F123057}" dt="2021-02-05T12:15:34.143" v="1880" actId="6549"/>
          <ac:spMkLst>
            <pc:docMk/>
            <pc:sldMk cId="3843576302" sldId="677"/>
            <ac:spMk id="2" creationId="{02517F6E-26E9-44E8-815E-774552D95FD0}"/>
          </ac:spMkLst>
        </pc:spChg>
        <pc:spChg chg="del">
          <ac:chgData name="christophe CHUECOS-FONT" userId="7e57acaa-4bc6-4644-8edc-0ecdded28594" providerId="ADAL" clId="{9817B8E0-72E5-4A80-920F-95B62F123057}" dt="2021-02-05T11:54:35.513" v="1380" actId="21"/>
          <ac:spMkLst>
            <pc:docMk/>
            <pc:sldMk cId="3843576302" sldId="677"/>
            <ac:spMk id="13" creationId="{AE64876D-DF14-4EE2-9B36-9EC38968D0B5}"/>
          </ac:spMkLst>
        </pc:spChg>
        <pc:spChg chg="del">
          <ac:chgData name="christophe CHUECOS-FONT" userId="7e57acaa-4bc6-4644-8edc-0ecdded28594" providerId="ADAL" clId="{9817B8E0-72E5-4A80-920F-95B62F123057}" dt="2021-02-05T11:54:32.554" v="1379" actId="21"/>
          <ac:spMkLst>
            <pc:docMk/>
            <pc:sldMk cId="3843576302" sldId="677"/>
            <ac:spMk id="14" creationId="{A2528021-6B36-49A2-ABF0-81A9C2CEDD8C}"/>
          </ac:spMkLst>
        </pc:spChg>
        <pc:graphicFrameChg chg="add del mod modGraphic">
          <ac:chgData name="christophe CHUECOS-FONT" userId="7e57acaa-4bc6-4644-8edc-0ecdded28594" providerId="ADAL" clId="{9817B8E0-72E5-4A80-920F-95B62F123057}" dt="2021-02-05T11:59:40.523" v="1441" actId="1032"/>
          <ac:graphicFrameMkLst>
            <pc:docMk/>
            <pc:sldMk cId="3843576302" sldId="677"/>
            <ac:graphicFrameMk id="5" creationId="{9E957F53-34EF-43A1-9268-238FC9D37C0A}"/>
          </ac:graphicFrameMkLst>
        </pc:graphicFrameChg>
      </pc:sldChg>
      <pc:sldChg chg="del ord">
        <pc:chgData name="christophe CHUECOS-FONT" userId="7e57acaa-4bc6-4644-8edc-0ecdded28594" providerId="ADAL" clId="{9817B8E0-72E5-4A80-920F-95B62F123057}" dt="2021-02-05T13:18:43.409" v="3139" actId="47"/>
        <pc:sldMkLst>
          <pc:docMk/>
          <pc:sldMk cId="2255016871" sldId="686"/>
        </pc:sldMkLst>
      </pc:sldChg>
      <pc:sldChg chg="modSp ord">
        <pc:chgData name="christophe CHUECOS-FONT" userId="7e57acaa-4bc6-4644-8edc-0ecdded28594" providerId="ADAL" clId="{9817B8E0-72E5-4A80-920F-95B62F123057}" dt="2021-02-05T12:25:44.403" v="2147" actId="2711"/>
        <pc:sldMkLst>
          <pc:docMk/>
          <pc:sldMk cId="2860654540" sldId="696"/>
        </pc:sldMkLst>
        <pc:graphicFrameChg chg="mod">
          <ac:chgData name="christophe CHUECOS-FONT" userId="7e57acaa-4bc6-4644-8edc-0ecdded28594" providerId="ADAL" clId="{9817B8E0-72E5-4A80-920F-95B62F123057}" dt="2021-02-05T12:25:44.403" v="2147" actId="2711"/>
          <ac:graphicFrameMkLst>
            <pc:docMk/>
            <pc:sldMk cId="2860654540" sldId="696"/>
            <ac:graphicFrameMk id="6" creationId="{4A6E514C-D3C4-4B29-BB5C-DB98C7CA5742}"/>
          </ac:graphicFrameMkLst>
        </pc:graphicFrameChg>
      </pc:sldChg>
      <pc:sldChg chg="del ord">
        <pc:chgData name="christophe CHUECOS-FONT" userId="7e57acaa-4bc6-4644-8edc-0ecdded28594" providerId="ADAL" clId="{9817B8E0-72E5-4A80-920F-95B62F123057}" dt="2021-02-05T12:15:57.737" v="1881" actId="47"/>
        <pc:sldMkLst>
          <pc:docMk/>
          <pc:sldMk cId="1211639872" sldId="699"/>
        </pc:sldMkLst>
      </pc:sldChg>
      <pc:sldChg chg="ord">
        <pc:chgData name="christophe CHUECOS-FONT" userId="7e57acaa-4bc6-4644-8edc-0ecdded28594" providerId="ADAL" clId="{9817B8E0-72E5-4A80-920F-95B62F123057}" dt="2021-02-05T12:16:21.721" v="1887"/>
        <pc:sldMkLst>
          <pc:docMk/>
          <pc:sldMk cId="2474754196" sldId="701"/>
        </pc:sldMkLst>
      </pc:sldChg>
      <pc:sldChg chg="addSp delSp modSp mod setBg">
        <pc:chgData name="christophe CHUECOS-FONT" userId="7e57acaa-4bc6-4644-8edc-0ecdded28594" providerId="ADAL" clId="{9817B8E0-72E5-4A80-920F-95B62F123057}" dt="2021-02-05T13:06:55.683" v="3036" actId="255"/>
        <pc:sldMkLst>
          <pc:docMk/>
          <pc:sldMk cId="1435419321" sldId="720"/>
        </pc:sldMkLst>
        <pc:spChg chg="mod">
          <ac:chgData name="christophe CHUECOS-FONT" userId="7e57acaa-4bc6-4644-8edc-0ecdded28594" providerId="ADAL" clId="{9817B8E0-72E5-4A80-920F-95B62F123057}" dt="2021-02-05T12:51:25.373" v="2772" actId="20577"/>
          <ac:spMkLst>
            <pc:docMk/>
            <pc:sldMk cId="1435419321" sldId="720"/>
            <ac:spMk id="2" creationId="{00000000-0000-0000-0000-000000000000}"/>
          </ac:spMkLst>
        </pc:spChg>
        <pc:spChg chg="ord">
          <ac:chgData name="christophe CHUECOS-FONT" userId="7e57acaa-4bc6-4644-8edc-0ecdded28594" providerId="ADAL" clId="{9817B8E0-72E5-4A80-920F-95B62F123057}" dt="2021-02-05T12:51:17.914" v="2760" actId="26606"/>
          <ac:spMkLst>
            <pc:docMk/>
            <pc:sldMk cId="1435419321" sldId="720"/>
            <ac:spMk id="3" creationId="{FE511234-0564-45CF-9753-9673E2310CC0}"/>
          </ac:spMkLst>
        </pc:spChg>
        <pc:spChg chg="mod">
          <ac:chgData name="christophe CHUECOS-FONT" userId="7e57acaa-4bc6-4644-8edc-0ecdded28594" providerId="ADAL" clId="{9817B8E0-72E5-4A80-920F-95B62F123057}" dt="2021-02-05T13:06:55.683" v="3036" actId="255"/>
          <ac:spMkLst>
            <pc:docMk/>
            <pc:sldMk cId="1435419321" sldId="720"/>
            <ac:spMk id="10" creationId="{2104DD9E-7F53-465D-8561-41BB61362ACA}"/>
          </ac:spMkLst>
        </pc:spChg>
        <pc:spChg chg="del">
          <ac:chgData name="christophe CHUECOS-FONT" userId="7e57acaa-4bc6-4644-8edc-0ecdded28594" providerId="ADAL" clId="{9817B8E0-72E5-4A80-920F-95B62F123057}" dt="2021-02-05T12:50:59.692" v="2758" actId="21"/>
          <ac:spMkLst>
            <pc:docMk/>
            <pc:sldMk cId="1435419321" sldId="720"/>
            <ac:spMk id="15" creationId="{AA543B3D-8F8C-4690-ABD5-D0AB8490C1EC}"/>
          </ac:spMkLst>
        </pc:spChg>
        <pc:spChg chg="del">
          <ac:chgData name="christophe CHUECOS-FONT" userId="7e57acaa-4bc6-4644-8edc-0ecdded28594" providerId="ADAL" clId="{9817B8E0-72E5-4A80-920F-95B62F123057}" dt="2021-02-05T12:51:03.364" v="2759" actId="21"/>
          <ac:spMkLst>
            <pc:docMk/>
            <pc:sldMk cId="1435419321" sldId="720"/>
            <ac:spMk id="16" creationId="{4DD6FF41-E944-4416-897D-4BD87EB7742E}"/>
          </ac:spMkLst>
        </pc:spChg>
        <pc:spChg chg="del">
          <ac:chgData name="christophe CHUECOS-FONT" userId="7e57acaa-4bc6-4644-8edc-0ecdded28594" providerId="ADAL" clId="{9817B8E0-72E5-4A80-920F-95B62F123057}" dt="2021-02-05T12:51:17.914" v="2760" actId="26606"/>
          <ac:spMkLst>
            <pc:docMk/>
            <pc:sldMk cId="1435419321" sldId="720"/>
            <ac:spMk id="46" creationId="{1CE580D1-F917-4567-AFB4-99AA9B52ADF0}"/>
          </ac:spMkLst>
        </pc:spChg>
        <pc:spChg chg="del">
          <ac:chgData name="christophe CHUECOS-FONT" userId="7e57acaa-4bc6-4644-8edc-0ecdded28594" providerId="ADAL" clId="{9817B8E0-72E5-4A80-920F-95B62F123057}" dt="2021-02-05T12:51:17.914" v="2760" actId="26606"/>
          <ac:spMkLst>
            <pc:docMk/>
            <pc:sldMk cId="1435419321" sldId="720"/>
            <ac:spMk id="54" creationId="{8D095B41-7312-4603-9F0F-93387C353134}"/>
          </ac:spMkLst>
        </pc:spChg>
        <pc:spChg chg="del">
          <ac:chgData name="christophe CHUECOS-FONT" userId="7e57acaa-4bc6-4644-8edc-0ecdded28594" providerId="ADAL" clId="{9817B8E0-72E5-4A80-920F-95B62F123057}" dt="2021-02-05T12:51:17.914" v="2760" actId="26606"/>
          <ac:spMkLst>
            <pc:docMk/>
            <pc:sldMk cId="1435419321" sldId="720"/>
            <ac:spMk id="56" creationId="{1042C936-444C-4F0D-9737-291EAFE1E7E4}"/>
          </ac:spMkLst>
        </pc:spChg>
        <pc:spChg chg="add">
          <ac:chgData name="christophe CHUECOS-FONT" userId="7e57acaa-4bc6-4644-8edc-0ecdded28594" providerId="ADAL" clId="{9817B8E0-72E5-4A80-920F-95B62F123057}" dt="2021-02-05T12:51:17.914" v="2760" actId="26606"/>
          <ac:spMkLst>
            <pc:docMk/>
            <pc:sldMk cId="1435419321" sldId="720"/>
            <ac:spMk id="67" creationId="{FD6EDB49-211E-499D-9A08-6C5FF3D060F7}"/>
          </ac:spMkLst>
        </pc:spChg>
        <pc:spChg chg="add">
          <ac:chgData name="christophe CHUECOS-FONT" userId="7e57acaa-4bc6-4644-8edc-0ecdded28594" providerId="ADAL" clId="{9817B8E0-72E5-4A80-920F-95B62F123057}" dt="2021-02-05T12:51:17.914" v="2760" actId="26606"/>
          <ac:spMkLst>
            <pc:docMk/>
            <pc:sldMk cId="1435419321" sldId="720"/>
            <ac:spMk id="69" creationId="{38F9F37E-D3CF-4F3D-96C2-25307819DF2D}"/>
          </ac:spMkLst>
        </pc:spChg>
        <pc:spChg chg="add">
          <ac:chgData name="christophe CHUECOS-FONT" userId="7e57acaa-4bc6-4644-8edc-0ecdded28594" providerId="ADAL" clId="{9817B8E0-72E5-4A80-920F-95B62F123057}" dt="2021-02-05T12:51:17.914" v="2760" actId="26606"/>
          <ac:spMkLst>
            <pc:docMk/>
            <pc:sldMk cId="1435419321" sldId="720"/>
            <ac:spMk id="71" creationId="{C5FFF17D-767C-40E7-8C89-962F1F54BCD0}"/>
          </ac:spMkLst>
        </pc:spChg>
        <pc:spChg chg="add">
          <ac:chgData name="christophe CHUECOS-FONT" userId="7e57acaa-4bc6-4644-8edc-0ecdded28594" providerId="ADAL" clId="{9817B8E0-72E5-4A80-920F-95B62F123057}" dt="2021-02-05T12:51:17.914" v="2760" actId="26606"/>
          <ac:spMkLst>
            <pc:docMk/>
            <pc:sldMk cId="1435419321" sldId="720"/>
            <ac:spMk id="73" creationId="{E69F39E1-619D-4D9E-8823-8BD8CC3206B6}"/>
          </ac:spMkLst>
        </pc:spChg>
        <pc:spChg chg="add">
          <ac:chgData name="christophe CHUECOS-FONT" userId="7e57acaa-4bc6-4644-8edc-0ecdded28594" providerId="ADAL" clId="{9817B8E0-72E5-4A80-920F-95B62F123057}" dt="2021-02-05T12:51:17.914" v="2760" actId="26606"/>
          <ac:spMkLst>
            <pc:docMk/>
            <pc:sldMk cId="1435419321" sldId="720"/>
            <ac:spMk id="75" creationId="{C8C53F47-DF50-454F-A5A6-6B969748D972}"/>
          </ac:spMkLst>
        </pc:spChg>
        <pc:picChg chg="del">
          <ac:chgData name="christophe CHUECOS-FONT" userId="7e57acaa-4bc6-4644-8edc-0ecdded28594" providerId="ADAL" clId="{9817B8E0-72E5-4A80-920F-95B62F123057}" dt="2021-02-05T12:51:17.914" v="2760" actId="26606"/>
          <ac:picMkLst>
            <pc:docMk/>
            <pc:sldMk cId="1435419321" sldId="720"/>
            <ac:picMk id="48" creationId="{1F5620B8-A2D8-4568-B566-F0453A0D9167}"/>
          </ac:picMkLst>
        </pc:picChg>
        <pc:picChg chg="del">
          <ac:chgData name="christophe CHUECOS-FONT" userId="7e57acaa-4bc6-4644-8edc-0ecdded28594" providerId="ADAL" clId="{9817B8E0-72E5-4A80-920F-95B62F123057}" dt="2021-02-05T12:51:17.914" v="2760" actId="26606"/>
          <ac:picMkLst>
            <pc:docMk/>
            <pc:sldMk cId="1435419321" sldId="720"/>
            <ac:picMk id="60" creationId="{419FDB25-3050-4009-9806-3000DDD1C083}"/>
          </ac:picMkLst>
        </pc:picChg>
        <pc:picChg chg="add">
          <ac:chgData name="christophe CHUECOS-FONT" userId="7e57acaa-4bc6-4644-8edc-0ecdded28594" providerId="ADAL" clId="{9817B8E0-72E5-4A80-920F-95B62F123057}" dt="2021-02-05T12:51:17.914" v="2760" actId="26606"/>
          <ac:picMkLst>
            <pc:docMk/>
            <pc:sldMk cId="1435419321" sldId="720"/>
            <ac:picMk id="77" creationId="{6A26901A-BC62-4A3A-A07A-65E1F3DDDEC6}"/>
          </ac:picMkLst>
        </pc:picChg>
        <pc:cxnChg chg="del">
          <ac:chgData name="christophe CHUECOS-FONT" userId="7e57acaa-4bc6-4644-8edc-0ecdded28594" providerId="ADAL" clId="{9817B8E0-72E5-4A80-920F-95B62F123057}" dt="2021-02-05T12:51:17.914" v="2760" actId="26606"/>
          <ac:cxnSpMkLst>
            <pc:docMk/>
            <pc:sldMk cId="1435419321" sldId="720"/>
            <ac:cxnSpMk id="50" creationId="{1C7D2BA4-4B7A-4596-8BCC-5CF715423894}"/>
          </ac:cxnSpMkLst>
        </pc:cxnChg>
        <pc:cxnChg chg="del">
          <ac:chgData name="christophe CHUECOS-FONT" userId="7e57acaa-4bc6-4644-8edc-0ecdded28594" providerId="ADAL" clId="{9817B8E0-72E5-4A80-920F-95B62F123057}" dt="2021-02-05T12:51:17.914" v="2760" actId="26606"/>
          <ac:cxnSpMkLst>
            <pc:docMk/>
            <pc:sldMk cId="1435419321" sldId="720"/>
            <ac:cxnSpMk id="52" creationId="{4977F1E1-2B6F-4BB6-899F-67D8764D83C5}"/>
          </ac:cxnSpMkLst>
        </pc:cxnChg>
        <pc:cxnChg chg="del">
          <ac:chgData name="christophe CHUECOS-FONT" userId="7e57acaa-4bc6-4644-8edc-0ecdded28594" providerId="ADAL" clId="{9817B8E0-72E5-4A80-920F-95B62F123057}" dt="2021-02-05T12:51:17.914" v="2760" actId="26606"/>
          <ac:cxnSpMkLst>
            <pc:docMk/>
            <pc:sldMk cId="1435419321" sldId="720"/>
            <ac:cxnSpMk id="58" creationId="{B61C4D9F-F4AF-4ED2-9310-56EB2E19C084}"/>
          </ac:cxnSpMkLst>
        </pc:cxnChg>
        <pc:cxnChg chg="del">
          <ac:chgData name="christophe CHUECOS-FONT" userId="7e57acaa-4bc6-4644-8edc-0ecdded28594" providerId="ADAL" clId="{9817B8E0-72E5-4A80-920F-95B62F123057}" dt="2021-02-05T12:51:17.914" v="2760" actId="26606"/>
          <ac:cxnSpMkLst>
            <pc:docMk/>
            <pc:sldMk cId="1435419321" sldId="720"/>
            <ac:cxnSpMk id="62" creationId="{8063EF0F-7BC0-4CFB-AB98-20A8DD91D70F}"/>
          </ac:cxnSpMkLst>
        </pc:cxnChg>
      </pc:sldChg>
      <pc:sldChg chg="del">
        <pc:chgData name="christophe CHUECOS-FONT" userId="7e57acaa-4bc6-4644-8edc-0ecdded28594" providerId="ADAL" clId="{9817B8E0-72E5-4A80-920F-95B62F123057}" dt="2021-02-05T12:16:43.357" v="1892" actId="47"/>
        <pc:sldMkLst>
          <pc:docMk/>
          <pc:sldMk cId="1825095438" sldId="721"/>
        </pc:sldMkLst>
      </pc:sldChg>
      <pc:sldChg chg="del">
        <pc:chgData name="christophe CHUECOS-FONT" userId="7e57acaa-4bc6-4644-8edc-0ecdded28594" providerId="ADAL" clId="{9817B8E0-72E5-4A80-920F-95B62F123057}" dt="2021-02-05T12:16:45.202" v="1893" actId="47"/>
        <pc:sldMkLst>
          <pc:docMk/>
          <pc:sldMk cId="3767349465" sldId="722"/>
        </pc:sldMkLst>
      </pc:sldChg>
      <pc:sldChg chg="del">
        <pc:chgData name="christophe CHUECOS-FONT" userId="7e57acaa-4bc6-4644-8edc-0ecdded28594" providerId="ADAL" clId="{9817B8E0-72E5-4A80-920F-95B62F123057}" dt="2021-02-05T13:10:46.443" v="3068" actId="47"/>
        <pc:sldMkLst>
          <pc:docMk/>
          <pc:sldMk cId="1019904241" sldId="723"/>
        </pc:sldMkLst>
      </pc:sldChg>
      <pc:sldChg chg="del">
        <pc:chgData name="christophe CHUECOS-FONT" userId="7e57acaa-4bc6-4644-8edc-0ecdded28594" providerId="ADAL" clId="{9817B8E0-72E5-4A80-920F-95B62F123057}" dt="2021-02-05T13:10:48.577" v="3069" actId="47"/>
        <pc:sldMkLst>
          <pc:docMk/>
          <pc:sldMk cId="3859586812" sldId="724"/>
        </pc:sldMkLst>
      </pc:sldChg>
      <pc:sldChg chg="del">
        <pc:chgData name="christophe CHUECOS-FONT" userId="7e57acaa-4bc6-4644-8edc-0ecdded28594" providerId="ADAL" clId="{9817B8E0-72E5-4A80-920F-95B62F123057}" dt="2021-02-05T13:10:50.167" v="3070" actId="47"/>
        <pc:sldMkLst>
          <pc:docMk/>
          <pc:sldMk cId="4064782458" sldId="740"/>
        </pc:sldMkLst>
      </pc:sldChg>
      <pc:sldChg chg="addSp delSp modSp mod ord">
        <pc:chgData name="christophe CHUECOS-FONT" userId="7e57acaa-4bc6-4644-8edc-0ecdded28594" providerId="ADAL" clId="{9817B8E0-72E5-4A80-920F-95B62F123057}" dt="2021-02-05T12:35:06.224" v="2306" actId="1076"/>
        <pc:sldMkLst>
          <pc:docMk/>
          <pc:sldMk cId="46848278" sldId="741"/>
        </pc:sldMkLst>
        <pc:spChg chg="del mod">
          <ac:chgData name="christophe CHUECOS-FONT" userId="7e57acaa-4bc6-4644-8edc-0ecdded28594" providerId="ADAL" clId="{9817B8E0-72E5-4A80-920F-95B62F123057}" dt="2021-02-05T12:34:55.051" v="2302" actId="21"/>
          <ac:spMkLst>
            <pc:docMk/>
            <pc:sldMk cId="46848278" sldId="741"/>
            <ac:spMk id="2" creationId="{00000000-0000-0000-0000-000000000000}"/>
          </ac:spMkLst>
        </pc:spChg>
        <pc:spChg chg="add del mod">
          <ac:chgData name="christophe CHUECOS-FONT" userId="7e57acaa-4bc6-4644-8edc-0ecdded28594" providerId="ADAL" clId="{9817B8E0-72E5-4A80-920F-95B62F123057}" dt="2021-02-05T12:33:13.403" v="2289" actId="21"/>
          <ac:spMkLst>
            <pc:docMk/>
            <pc:sldMk cId="46848278" sldId="741"/>
            <ac:spMk id="5" creationId="{5B6557BA-B6BE-4F08-B30D-BF9BCECBFC18}"/>
          </ac:spMkLst>
        </pc:spChg>
        <pc:spChg chg="mod">
          <ac:chgData name="christophe CHUECOS-FONT" userId="7e57acaa-4bc6-4644-8edc-0ecdded28594" providerId="ADAL" clId="{9817B8E0-72E5-4A80-920F-95B62F123057}" dt="2021-02-05T12:32:22.989" v="2284" actId="6549"/>
          <ac:spMkLst>
            <pc:docMk/>
            <pc:sldMk cId="46848278" sldId="741"/>
            <ac:spMk id="10" creationId="{2104DD9E-7F53-465D-8561-41BB61362ACA}"/>
          </ac:spMkLst>
        </pc:spChg>
        <pc:picChg chg="add del mod">
          <ac:chgData name="christophe CHUECOS-FONT" userId="7e57acaa-4bc6-4644-8edc-0ecdded28594" providerId="ADAL" clId="{9817B8E0-72E5-4A80-920F-95B62F123057}" dt="2021-02-05T12:33:13.403" v="2289" actId="21"/>
          <ac:picMkLst>
            <pc:docMk/>
            <pc:sldMk cId="46848278" sldId="741"/>
            <ac:picMk id="4" creationId="{A3E7A1CB-14EA-4CB4-8DE3-495A66246D5D}"/>
          </ac:picMkLst>
        </pc:picChg>
        <pc:picChg chg="add del mod">
          <ac:chgData name="christophe CHUECOS-FONT" userId="7e57acaa-4bc6-4644-8edc-0ecdded28594" providerId="ADAL" clId="{9817B8E0-72E5-4A80-920F-95B62F123057}" dt="2021-02-05T12:33:38.517" v="2297"/>
          <ac:picMkLst>
            <pc:docMk/>
            <pc:sldMk cId="46848278" sldId="741"/>
            <ac:picMk id="6" creationId="{AF672D10-65AB-44DE-875E-E0239EAB5D47}"/>
          </ac:picMkLst>
        </pc:picChg>
        <pc:picChg chg="add mod">
          <ac:chgData name="christophe CHUECOS-FONT" userId="7e57acaa-4bc6-4644-8edc-0ecdded28594" providerId="ADAL" clId="{9817B8E0-72E5-4A80-920F-95B62F123057}" dt="2021-02-05T12:35:06.224" v="2306" actId="1076"/>
          <ac:picMkLst>
            <pc:docMk/>
            <pc:sldMk cId="46848278" sldId="741"/>
            <ac:picMk id="3074" creationId="{5773E1FE-EFF0-45D9-823D-1B322AAF21E7}"/>
          </ac:picMkLst>
        </pc:picChg>
      </pc:sldChg>
      <pc:sldChg chg="modSp add del mod">
        <pc:chgData name="christophe CHUECOS-FONT" userId="7e57acaa-4bc6-4644-8edc-0ecdded28594" providerId="ADAL" clId="{9817B8E0-72E5-4A80-920F-95B62F123057}" dt="2021-02-05T12:37:06.970" v="2310" actId="47"/>
        <pc:sldMkLst>
          <pc:docMk/>
          <pc:sldMk cId="2973601308" sldId="742"/>
        </pc:sldMkLst>
        <pc:spChg chg="mod">
          <ac:chgData name="christophe CHUECOS-FONT" userId="7e57acaa-4bc6-4644-8edc-0ecdded28594" providerId="ADAL" clId="{9817B8E0-72E5-4A80-920F-95B62F123057}" dt="2021-02-05T12:16:35.900" v="1891" actId="6549"/>
          <ac:spMkLst>
            <pc:docMk/>
            <pc:sldMk cId="2973601308" sldId="742"/>
            <ac:spMk id="2" creationId="{02517F6E-26E9-44E8-815E-774552D95FD0}"/>
          </ac:spMkLst>
        </pc:spChg>
      </pc:sldChg>
      <pc:sldChg chg="del">
        <pc:chgData name="christophe CHUECOS-FONT" userId="7e57acaa-4bc6-4644-8edc-0ecdded28594" providerId="ADAL" clId="{9817B8E0-72E5-4A80-920F-95B62F123057}" dt="2021-02-05T13:10:55.352" v="3073" actId="47"/>
        <pc:sldMkLst>
          <pc:docMk/>
          <pc:sldMk cId="4265384868" sldId="744"/>
        </pc:sldMkLst>
      </pc:sldChg>
      <pc:sldChg chg="del">
        <pc:chgData name="christophe CHUECOS-FONT" userId="7e57acaa-4bc6-4644-8edc-0ecdded28594" providerId="ADAL" clId="{9817B8E0-72E5-4A80-920F-95B62F123057}" dt="2021-02-05T13:10:52.458" v="3071" actId="47"/>
        <pc:sldMkLst>
          <pc:docMk/>
          <pc:sldMk cId="2659999973" sldId="745"/>
        </pc:sldMkLst>
      </pc:sldChg>
      <pc:sldChg chg="addSp delSp modSp mod setBg">
        <pc:chgData name="christophe CHUECOS-FONT" userId="7e57acaa-4bc6-4644-8edc-0ecdded28594" providerId="ADAL" clId="{9817B8E0-72E5-4A80-920F-95B62F123057}" dt="2021-02-05T13:29:54.453" v="3222" actId="21"/>
        <pc:sldMkLst>
          <pc:docMk/>
          <pc:sldMk cId="862046135" sldId="746"/>
        </pc:sldMkLst>
        <pc:spChg chg="mod">
          <ac:chgData name="christophe CHUECOS-FONT" userId="7e57acaa-4bc6-4644-8edc-0ecdded28594" providerId="ADAL" clId="{9817B8E0-72E5-4A80-920F-95B62F123057}" dt="2021-02-05T13:29:03.569" v="3220" actId="26606"/>
          <ac:spMkLst>
            <pc:docMk/>
            <pc:sldMk cId="862046135" sldId="746"/>
            <ac:spMk id="2" creationId="{02517F6E-26E9-44E8-815E-774552D95FD0}"/>
          </ac:spMkLst>
        </pc:spChg>
        <pc:spChg chg="add del mod">
          <ac:chgData name="christophe CHUECOS-FONT" userId="7e57acaa-4bc6-4644-8edc-0ecdded28594" providerId="ADAL" clId="{9817B8E0-72E5-4A80-920F-95B62F123057}" dt="2021-02-05T13:29:54.453" v="3222" actId="21"/>
          <ac:spMkLst>
            <pc:docMk/>
            <pc:sldMk cId="862046135" sldId="746"/>
            <ac:spMk id="3" creationId="{7F1D0C51-9F0A-4F5A-B65C-5463940FD37F}"/>
          </ac:spMkLst>
        </pc:spChg>
        <pc:spChg chg="del">
          <ac:chgData name="christophe CHUECOS-FONT" userId="7e57acaa-4bc6-4644-8edc-0ecdded28594" providerId="ADAL" clId="{9817B8E0-72E5-4A80-920F-95B62F123057}" dt="2021-02-05T13:29:03.569" v="3220" actId="26606"/>
          <ac:spMkLst>
            <pc:docMk/>
            <pc:sldMk cId="862046135" sldId="746"/>
            <ac:spMk id="77" creationId="{E91DC736-0EF8-4F87-9146-EBF1D2EE4D3D}"/>
          </ac:spMkLst>
        </pc:spChg>
        <pc:spChg chg="del">
          <ac:chgData name="christophe CHUECOS-FONT" userId="7e57acaa-4bc6-4644-8edc-0ecdded28594" providerId="ADAL" clId="{9817B8E0-72E5-4A80-920F-95B62F123057}" dt="2021-02-05T13:29:03.569" v="3220" actId="26606"/>
          <ac:spMkLst>
            <pc:docMk/>
            <pc:sldMk cId="862046135" sldId="746"/>
            <ac:spMk id="79" creationId="{097CD68E-23E3-4007-8847-CD0944C4F7BE}"/>
          </ac:spMkLst>
        </pc:spChg>
        <pc:spChg chg="del">
          <ac:chgData name="christophe CHUECOS-FONT" userId="7e57acaa-4bc6-4644-8edc-0ecdded28594" providerId="ADAL" clId="{9817B8E0-72E5-4A80-920F-95B62F123057}" dt="2021-02-05T13:29:03.569" v="3220" actId="26606"/>
          <ac:spMkLst>
            <pc:docMk/>
            <pc:sldMk cId="862046135" sldId="746"/>
            <ac:spMk id="81" creationId="{AF2F604E-43BE-4DC3-B983-E071523364F8}"/>
          </ac:spMkLst>
        </pc:spChg>
        <pc:spChg chg="del">
          <ac:chgData name="christophe CHUECOS-FONT" userId="7e57acaa-4bc6-4644-8edc-0ecdded28594" providerId="ADAL" clId="{9817B8E0-72E5-4A80-920F-95B62F123057}" dt="2021-02-05T13:29:03.569" v="3220" actId="26606"/>
          <ac:spMkLst>
            <pc:docMk/>
            <pc:sldMk cId="862046135" sldId="746"/>
            <ac:spMk id="83" creationId="{08C9B587-E65E-4B52-B37C-ABEBB6E87928}"/>
          </ac:spMkLst>
        </pc:spChg>
        <pc:spChg chg="add">
          <ac:chgData name="christophe CHUECOS-FONT" userId="7e57acaa-4bc6-4644-8edc-0ecdded28594" providerId="ADAL" clId="{9817B8E0-72E5-4A80-920F-95B62F123057}" dt="2021-02-05T13:29:03.569" v="3220" actId="26606"/>
          <ac:spMkLst>
            <pc:docMk/>
            <pc:sldMk cId="862046135" sldId="746"/>
            <ac:spMk id="88" creationId="{16C5FA50-8D52-4617-AF91-5C7B1C8352F1}"/>
          </ac:spMkLst>
        </pc:spChg>
        <pc:spChg chg="add">
          <ac:chgData name="christophe CHUECOS-FONT" userId="7e57acaa-4bc6-4644-8edc-0ecdded28594" providerId="ADAL" clId="{9817B8E0-72E5-4A80-920F-95B62F123057}" dt="2021-02-05T13:29:03.569" v="3220" actId="26606"/>
          <ac:spMkLst>
            <pc:docMk/>
            <pc:sldMk cId="862046135" sldId="746"/>
            <ac:spMk id="90" creationId="{E223798C-12AD-4B0C-A50C-D676347D67CF}"/>
          </ac:spMkLst>
        </pc:spChg>
        <pc:picChg chg="mod ord">
          <ac:chgData name="christophe CHUECOS-FONT" userId="7e57acaa-4bc6-4644-8edc-0ecdded28594" providerId="ADAL" clId="{9817B8E0-72E5-4A80-920F-95B62F123057}" dt="2021-02-05T13:29:33.212" v="3221" actId="14826"/>
          <ac:picMkLst>
            <pc:docMk/>
            <pc:sldMk cId="862046135" sldId="746"/>
            <ac:picMk id="36" creationId="{FC9EF324-339C-4E46-9508-BF0C86AAC793}"/>
          </ac:picMkLst>
        </pc:picChg>
      </pc:sldChg>
      <pc:sldChg chg="del">
        <pc:chgData name="christophe CHUECOS-FONT" userId="7e57acaa-4bc6-4644-8edc-0ecdded28594" providerId="ADAL" clId="{9817B8E0-72E5-4A80-920F-95B62F123057}" dt="2021-02-05T13:10:54.105" v="3072" actId="47"/>
        <pc:sldMkLst>
          <pc:docMk/>
          <pc:sldMk cId="1888965905" sldId="747"/>
        </pc:sldMkLst>
      </pc:sldChg>
      <pc:sldChg chg="modSp add mod ord">
        <pc:chgData name="christophe CHUECOS-FONT" userId="7e57acaa-4bc6-4644-8edc-0ecdded28594" providerId="ADAL" clId="{9817B8E0-72E5-4A80-920F-95B62F123057}" dt="2021-02-05T12:31:01.980" v="2237" actId="20577"/>
        <pc:sldMkLst>
          <pc:docMk/>
          <pc:sldMk cId="207037776" sldId="748"/>
        </pc:sldMkLst>
        <pc:graphicFrameChg chg="mod modGraphic">
          <ac:chgData name="christophe CHUECOS-FONT" userId="7e57acaa-4bc6-4644-8edc-0ecdded28594" providerId="ADAL" clId="{9817B8E0-72E5-4A80-920F-95B62F123057}" dt="2021-02-05T12:31:01.980" v="2237" actId="20577"/>
          <ac:graphicFrameMkLst>
            <pc:docMk/>
            <pc:sldMk cId="207037776" sldId="748"/>
            <ac:graphicFrameMk id="6" creationId="{4A6E514C-D3C4-4B29-BB5C-DB98C7CA5742}"/>
          </ac:graphicFrameMkLst>
        </pc:graphicFrameChg>
      </pc:sldChg>
      <pc:sldChg chg="addSp delSp modSp add del mod ord">
        <pc:chgData name="christophe CHUECOS-FONT" userId="7e57acaa-4bc6-4644-8edc-0ecdded28594" providerId="ADAL" clId="{9817B8E0-72E5-4A80-920F-95B62F123057}" dt="2021-02-05T11:48:37.765" v="1181" actId="47"/>
        <pc:sldMkLst>
          <pc:docMk/>
          <pc:sldMk cId="3929803507" sldId="748"/>
        </pc:sldMkLst>
        <pc:spChg chg="del mod">
          <ac:chgData name="christophe CHUECOS-FONT" userId="7e57acaa-4bc6-4644-8edc-0ecdded28594" providerId="ADAL" clId="{9817B8E0-72E5-4A80-920F-95B62F123057}" dt="2021-02-05T11:42:53.645" v="969" actId="21"/>
          <ac:spMkLst>
            <pc:docMk/>
            <pc:sldMk cId="3929803507" sldId="748"/>
            <ac:spMk id="2" creationId="{02517F6E-26E9-44E8-815E-774552D95FD0}"/>
          </ac:spMkLst>
        </pc:spChg>
        <pc:spChg chg="mod">
          <ac:chgData name="christophe CHUECOS-FONT" userId="7e57acaa-4bc6-4644-8edc-0ecdded28594" providerId="ADAL" clId="{9817B8E0-72E5-4A80-920F-95B62F123057}" dt="2021-02-05T11:42:31.987" v="957" actId="1076"/>
          <ac:spMkLst>
            <pc:docMk/>
            <pc:sldMk cId="3929803507" sldId="748"/>
            <ac:spMk id="3" creationId="{79900381-058A-49D1-91B1-63D7DD95F910}"/>
          </ac:spMkLst>
        </pc:spChg>
        <pc:spChg chg="add mod">
          <ac:chgData name="christophe CHUECOS-FONT" userId="7e57acaa-4bc6-4644-8edc-0ecdded28594" providerId="ADAL" clId="{9817B8E0-72E5-4A80-920F-95B62F123057}" dt="2021-02-05T11:42:53.645" v="969" actId="21"/>
          <ac:spMkLst>
            <pc:docMk/>
            <pc:sldMk cId="3929803507" sldId="748"/>
            <ac:spMk id="6" creationId="{EE6428D0-F810-4A90-96AA-3E6D994E530E}"/>
          </ac:spMkLst>
        </pc:spChg>
      </pc:sldChg>
      <pc:sldChg chg="addSp delSp modSp add mod">
        <pc:chgData name="christophe CHUECOS-FONT" userId="7e57acaa-4bc6-4644-8edc-0ecdded28594" providerId="ADAL" clId="{9817B8E0-72E5-4A80-920F-95B62F123057}" dt="2021-02-05T12:38:34.546" v="2378" actId="313"/>
        <pc:sldMkLst>
          <pc:docMk/>
          <pc:sldMk cId="4173125488" sldId="749"/>
        </pc:sldMkLst>
        <pc:spChg chg="del mod">
          <ac:chgData name="christophe CHUECOS-FONT" userId="7e57acaa-4bc6-4644-8edc-0ecdded28594" providerId="ADAL" clId="{9817B8E0-72E5-4A80-920F-95B62F123057}" dt="2021-02-05T12:13:33.137" v="1833" actId="21"/>
          <ac:spMkLst>
            <pc:docMk/>
            <pc:sldMk cId="4173125488" sldId="749"/>
            <ac:spMk id="2" creationId="{02517F6E-26E9-44E8-815E-774552D95FD0}"/>
          </ac:spMkLst>
        </pc:spChg>
        <pc:spChg chg="add del mod">
          <ac:chgData name="christophe CHUECOS-FONT" userId="7e57acaa-4bc6-4644-8edc-0ecdded28594" providerId="ADAL" clId="{9817B8E0-72E5-4A80-920F-95B62F123057}" dt="2021-02-05T12:15:11.445" v="1870" actId="478"/>
          <ac:spMkLst>
            <pc:docMk/>
            <pc:sldMk cId="4173125488" sldId="749"/>
            <ac:spMk id="6" creationId="{3E8E1C35-D244-460D-B767-E880128C46A4}"/>
          </ac:spMkLst>
        </pc:spChg>
        <pc:spChg chg="add del mod">
          <ac:chgData name="christophe CHUECOS-FONT" userId="7e57acaa-4bc6-4644-8edc-0ecdded28594" providerId="ADAL" clId="{9817B8E0-72E5-4A80-920F-95B62F123057}" dt="2021-02-05T12:15:28.538" v="1879" actId="21"/>
          <ac:spMkLst>
            <pc:docMk/>
            <pc:sldMk cId="4173125488" sldId="749"/>
            <ac:spMk id="13" creationId="{17EB41A5-083A-4B89-BC8E-9FC8320DB0C0}"/>
          </ac:spMkLst>
        </pc:spChg>
        <pc:graphicFrameChg chg="add mod modGraphic">
          <ac:chgData name="christophe CHUECOS-FONT" userId="7e57acaa-4bc6-4644-8edc-0ecdded28594" providerId="ADAL" clId="{9817B8E0-72E5-4A80-920F-95B62F123057}" dt="2021-02-05T12:38:34.546" v="2378" actId="313"/>
          <ac:graphicFrameMkLst>
            <pc:docMk/>
            <pc:sldMk cId="4173125488" sldId="749"/>
            <ac:graphicFrameMk id="11" creationId="{BE7017E8-72FF-4D63-A4AE-8C9FCD2F6E61}"/>
          </ac:graphicFrameMkLst>
        </pc:graphicFrameChg>
      </pc:sldChg>
      <pc:sldChg chg="addSp delSp modSp add mod ord">
        <pc:chgData name="christophe CHUECOS-FONT" userId="7e57acaa-4bc6-4644-8edc-0ecdded28594" providerId="ADAL" clId="{9817B8E0-72E5-4A80-920F-95B62F123057}" dt="2021-02-05T12:25:23.337" v="2145" actId="2711"/>
        <pc:sldMkLst>
          <pc:docMk/>
          <pc:sldMk cId="1331932978" sldId="750"/>
        </pc:sldMkLst>
        <pc:spChg chg="del">
          <ac:chgData name="christophe CHUECOS-FONT" userId="7e57acaa-4bc6-4644-8edc-0ecdded28594" providerId="ADAL" clId="{9817B8E0-72E5-4A80-920F-95B62F123057}" dt="2021-02-05T12:03:37.767" v="1512" actId="21"/>
          <ac:spMkLst>
            <pc:docMk/>
            <pc:sldMk cId="1331932978" sldId="750"/>
            <ac:spMk id="2" creationId="{02517F6E-26E9-44E8-815E-774552D95FD0}"/>
          </ac:spMkLst>
        </pc:spChg>
        <pc:spChg chg="add del mod">
          <ac:chgData name="christophe CHUECOS-FONT" userId="7e57acaa-4bc6-4644-8edc-0ecdded28594" providerId="ADAL" clId="{9817B8E0-72E5-4A80-920F-95B62F123057}" dt="2021-02-05T12:13:01.386" v="1820" actId="21"/>
          <ac:spMkLst>
            <pc:docMk/>
            <pc:sldMk cId="1331932978" sldId="750"/>
            <ac:spMk id="6" creationId="{889463DC-170E-4169-8EF2-A0118E045062}"/>
          </ac:spMkLst>
        </pc:spChg>
        <pc:graphicFrameChg chg="add mod modGraphic">
          <ac:chgData name="christophe CHUECOS-FONT" userId="7e57acaa-4bc6-4644-8edc-0ecdded28594" providerId="ADAL" clId="{9817B8E0-72E5-4A80-920F-95B62F123057}" dt="2021-02-05T12:25:23.337" v="2145" actId="2711"/>
          <ac:graphicFrameMkLst>
            <pc:docMk/>
            <pc:sldMk cId="1331932978" sldId="750"/>
            <ac:graphicFrameMk id="11" creationId="{E94DFFC9-EC83-475B-9CC4-E7F2C5E65D08}"/>
          </ac:graphicFrameMkLst>
        </pc:graphicFrameChg>
      </pc:sldChg>
      <pc:sldChg chg="addSp delSp modSp add mod setBg">
        <pc:chgData name="christophe CHUECOS-FONT" userId="7e57acaa-4bc6-4644-8edc-0ecdded28594" providerId="ADAL" clId="{9817B8E0-72E5-4A80-920F-95B62F123057}" dt="2021-02-05T12:26:47.584" v="2165" actId="255"/>
        <pc:sldMkLst>
          <pc:docMk/>
          <pc:sldMk cId="199886149" sldId="751"/>
        </pc:sldMkLst>
        <pc:spChg chg="mod">
          <ac:chgData name="christophe CHUECOS-FONT" userId="7e57acaa-4bc6-4644-8edc-0ecdded28594" providerId="ADAL" clId="{9817B8E0-72E5-4A80-920F-95B62F123057}" dt="2021-02-05T12:17:24.560" v="1926" actId="6549"/>
          <ac:spMkLst>
            <pc:docMk/>
            <pc:sldMk cId="199886149" sldId="751"/>
            <ac:spMk id="2" creationId="{02517F6E-26E9-44E8-815E-774552D95FD0}"/>
          </ac:spMkLst>
        </pc:spChg>
        <pc:spChg chg="add del mod">
          <ac:chgData name="christophe CHUECOS-FONT" userId="7e57acaa-4bc6-4644-8edc-0ecdded28594" providerId="ADAL" clId="{9817B8E0-72E5-4A80-920F-95B62F123057}" dt="2021-02-05T12:18:12.199" v="1930" actId="21"/>
          <ac:spMkLst>
            <pc:docMk/>
            <pc:sldMk cId="199886149" sldId="751"/>
            <ac:spMk id="3" creationId="{6765F43B-1830-4B94-A641-F503578399A0}"/>
          </ac:spMkLst>
        </pc:spChg>
        <pc:spChg chg="add mod">
          <ac:chgData name="christophe CHUECOS-FONT" userId="7e57acaa-4bc6-4644-8edc-0ecdded28594" providerId="ADAL" clId="{9817B8E0-72E5-4A80-920F-95B62F123057}" dt="2021-02-05T12:26:47.584" v="2165" actId="255"/>
          <ac:spMkLst>
            <pc:docMk/>
            <pc:sldMk cId="199886149" sldId="751"/>
            <ac:spMk id="5" creationId="{DFEA2082-E7DE-4453-8158-54F380B94285}"/>
          </ac:spMkLst>
        </pc:spChg>
        <pc:spChg chg="del">
          <ac:chgData name="christophe CHUECOS-FONT" userId="7e57acaa-4bc6-4644-8edc-0ecdded28594" providerId="ADAL" clId="{9817B8E0-72E5-4A80-920F-95B62F123057}" dt="2021-02-05T12:17:17.414" v="1911" actId="26606"/>
          <ac:spMkLst>
            <pc:docMk/>
            <pc:sldMk cId="199886149" sldId="751"/>
            <ac:spMk id="51" creationId="{A3BAF07C-C39E-42EB-BB22-8D46691D9735}"/>
          </ac:spMkLst>
        </pc:spChg>
        <pc:spChg chg="add">
          <ac:chgData name="christophe CHUECOS-FONT" userId="7e57acaa-4bc6-4644-8edc-0ecdded28594" providerId="ADAL" clId="{9817B8E0-72E5-4A80-920F-95B62F123057}" dt="2021-02-05T12:17:17.414" v="1911" actId="26606"/>
          <ac:spMkLst>
            <pc:docMk/>
            <pc:sldMk cId="199886149" sldId="751"/>
            <ac:spMk id="77" creationId="{8537B233-9CDD-4A90-AABB-A8963DEE4FBC}"/>
          </ac:spMkLst>
        </pc:spChg>
        <pc:grpChg chg="del">
          <ac:chgData name="christophe CHUECOS-FONT" userId="7e57acaa-4bc6-4644-8edc-0ecdded28594" providerId="ADAL" clId="{9817B8E0-72E5-4A80-920F-95B62F123057}" dt="2021-02-05T12:17:17.414" v="1911" actId="26606"/>
          <ac:grpSpMkLst>
            <pc:docMk/>
            <pc:sldMk cId="199886149" sldId="751"/>
            <ac:grpSpMk id="53" creationId="{D8E9CF54-0466-4261-9E62-0249E60E1886}"/>
          </ac:grpSpMkLst>
        </pc:grpChg>
        <pc:picChg chg="mod">
          <ac:chgData name="christophe CHUECOS-FONT" userId="7e57acaa-4bc6-4644-8edc-0ecdded28594" providerId="ADAL" clId="{9817B8E0-72E5-4A80-920F-95B62F123057}" dt="2021-02-05T12:18:05.674" v="1928" actId="14100"/>
          <ac:picMkLst>
            <pc:docMk/>
            <pc:sldMk cId="199886149" sldId="751"/>
            <ac:picMk id="36" creationId="{FC9EF324-339C-4E46-9508-BF0C86AAC793}"/>
          </ac:picMkLst>
        </pc:picChg>
        <pc:cxnChg chg="add">
          <ac:chgData name="christophe CHUECOS-FONT" userId="7e57acaa-4bc6-4644-8edc-0ecdded28594" providerId="ADAL" clId="{9817B8E0-72E5-4A80-920F-95B62F123057}" dt="2021-02-05T12:17:17.414" v="1911" actId="26606"/>
          <ac:cxnSpMkLst>
            <pc:docMk/>
            <pc:sldMk cId="199886149" sldId="751"/>
            <ac:cxnSpMk id="79" creationId="{040575EE-C594-4566-BC00-663004E52AB5}"/>
          </ac:cxnSpMkLst>
        </pc:cxnChg>
      </pc:sldChg>
      <pc:sldChg chg="modSp add mod ord">
        <pc:chgData name="christophe CHUECOS-FONT" userId="7e57acaa-4bc6-4644-8edc-0ecdded28594" providerId="ADAL" clId="{9817B8E0-72E5-4A80-920F-95B62F123057}" dt="2021-02-05T12:27:28.856" v="2174" actId="27636"/>
        <pc:sldMkLst>
          <pc:docMk/>
          <pc:sldMk cId="1555533496" sldId="752"/>
        </pc:sldMkLst>
        <pc:spChg chg="mod">
          <ac:chgData name="christophe CHUECOS-FONT" userId="7e57acaa-4bc6-4644-8edc-0ecdded28594" providerId="ADAL" clId="{9817B8E0-72E5-4A80-920F-95B62F123057}" dt="2021-02-05T12:27:28.856" v="2174" actId="27636"/>
          <ac:spMkLst>
            <pc:docMk/>
            <pc:sldMk cId="1555533496" sldId="752"/>
            <ac:spMk id="2" creationId="{02517F6E-26E9-44E8-815E-774552D95FD0}"/>
          </ac:spMkLst>
        </pc:spChg>
      </pc:sldChg>
      <pc:sldChg chg="addSp delSp modSp add mod ord">
        <pc:chgData name="christophe CHUECOS-FONT" userId="7e57acaa-4bc6-4644-8edc-0ecdded28594" providerId="ADAL" clId="{9817B8E0-72E5-4A80-920F-95B62F123057}" dt="2021-02-05T12:22:08.279" v="2120" actId="26606"/>
        <pc:sldMkLst>
          <pc:docMk/>
          <pc:sldMk cId="1388402899" sldId="753"/>
        </pc:sldMkLst>
        <pc:spChg chg="mod">
          <ac:chgData name="christophe CHUECOS-FONT" userId="7e57acaa-4bc6-4644-8edc-0ecdded28594" providerId="ADAL" clId="{9817B8E0-72E5-4A80-920F-95B62F123057}" dt="2021-02-05T12:21:04.326" v="2045" actId="20577"/>
          <ac:spMkLst>
            <pc:docMk/>
            <pc:sldMk cId="1388402899" sldId="753"/>
            <ac:spMk id="2" creationId="{00000000-0000-0000-0000-000000000000}"/>
          </ac:spMkLst>
        </pc:spChg>
        <pc:spChg chg="del mod">
          <ac:chgData name="christophe CHUECOS-FONT" userId="7e57acaa-4bc6-4644-8edc-0ecdded28594" providerId="ADAL" clId="{9817B8E0-72E5-4A80-920F-95B62F123057}" dt="2021-02-05T12:22:08.279" v="2120" actId="26606"/>
          <ac:spMkLst>
            <pc:docMk/>
            <pc:sldMk cId="1388402899" sldId="753"/>
            <ac:spMk id="10" creationId="{2104DD9E-7F53-465D-8561-41BB61362ACA}"/>
          </ac:spMkLst>
        </pc:spChg>
        <pc:graphicFrameChg chg="add">
          <ac:chgData name="christophe CHUECOS-FONT" userId="7e57acaa-4bc6-4644-8edc-0ecdded28594" providerId="ADAL" clId="{9817B8E0-72E5-4A80-920F-95B62F123057}" dt="2021-02-05T12:22:08.279" v="2120" actId="26606"/>
          <ac:graphicFrameMkLst>
            <pc:docMk/>
            <pc:sldMk cId="1388402899" sldId="753"/>
            <ac:graphicFrameMk id="18" creationId="{617CF2FB-A56B-4819-897B-4183F10C8A27}"/>
          </ac:graphicFrameMkLst>
        </pc:graphicFrameChg>
      </pc:sldChg>
      <pc:sldChg chg="addSp delSp modSp add mod">
        <pc:chgData name="christophe CHUECOS-FONT" userId="7e57acaa-4bc6-4644-8edc-0ecdded28594" providerId="ADAL" clId="{9817B8E0-72E5-4A80-920F-95B62F123057}" dt="2021-02-05T12:41:09.210" v="2390" actId="115"/>
        <pc:sldMkLst>
          <pc:docMk/>
          <pc:sldMk cId="1279459092" sldId="754"/>
        </pc:sldMkLst>
        <pc:spChg chg="add del">
          <ac:chgData name="christophe CHUECOS-FONT" userId="7e57acaa-4bc6-4644-8edc-0ecdded28594" providerId="ADAL" clId="{9817B8E0-72E5-4A80-920F-95B62F123057}" dt="2021-02-05T12:22:36.638" v="2122"/>
          <ac:spMkLst>
            <pc:docMk/>
            <pc:sldMk cId="1279459092" sldId="754"/>
            <ac:spMk id="3" creationId="{875CD4EC-9519-4ACA-8B3C-8CF29CF245A4}"/>
          </ac:spMkLst>
        </pc:spChg>
        <pc:spChg chg="add del">
          <ac:chgData name="christophe CHUECOS-FONT" userId="7e57acaa-4bc6-4644-8edc-0ecdded28594" providerId="ADAL" clId="{9817B8E0-72E5-4A80-920F-95B62F123057}" dt="2021-02-05T12:22:46.188" v="2124" actId="21"/>
          <ac:spMkLst>
            <pc:docMk/>
            <pc:sldMk cId="1279459092" sldId="754"/>
            <ac:spMk id="4" creationId="{74CCE3A4-CAA8-4A88-A7CD-E43D136F6965}"/>
          </ac:spMkLst>
        </pc:spChg>
        <pc:spChg chg="mod">
          <ac:chgData name="christophe CHUECOS-FONT" userId="7e57acaa-4bc6-4644-8edc-0ecdded28594" providerId="ADAL" clId="{9817B8E0-72E5-4A80-920F-95B62F123057}" dt="2021-02-05T12:41:09.210" v="2390" actId="115"/>
          <ac:spMkLst>
            <pc:docMk/>
            <pc:sldMk cId="1279459092" sldId="754"/>
            <ac:spMk id="10" creationId="{2104DD9E-7F53-465D-8561-41BB61362ACA}"/>
          </ac:spMkLst>
        </pc:spChg>
      </pc:sldChg>
      <pc:sldChg chg="add">
        <pc:chgData name="christophe CHUECOS-FONT" userId="7e57acaa-4bc6-4644-8edc-0ecdded28594" providerId="ADAL" clId="{9817B8E0-72E5-4A80-920F-95B62F123057}" dt="2021-02-05T12:26:05.311" v="2149" actId="2890"/>
        <pc:sldMkLst>
          <pc:docMk/>
          <pc:sldMk cId="3967480954" sldId="755"/>
        </pc:sldMkLst>
      </pc:sldChg>
      <pc:sldChg chg="add del">
        <pc:chgData name="christophe CHUECOS-FONT" userId="7e57acaa-4bc6-4644-8edc-0ecdded28594" providerId="ADAL" clId="{9817B8E0-72E5-4A80-920F-95B62F123057}" dt="2021-02-05T12:31:50.707" v="2243" actId="47"/>
        <pc:sldMkLst>
          <pc:docMk/>
          <pc:sldMk cId="4274374807" sldId="756"/>
        </pc:sldMkLst>
      </pc:sldChg>
      <pc:sldChg chg="modSp add ord">
        <pc:chgData name="christophe CHUECOS-FONT" userId="7e57acaa-4bc6-4644-8edc-0ecdded28594" providerId="ADAL" clId="{9817B8E0-72E5-4A80-920F-95B62F123057}" dt="2021-02-05T12:35:22.637" v="2307"/>
        <pc:sldMkLst>
          <pc:docMk/>
          <pc:sldMk cId="18592871" sldId="757"/>
        </pc:sldMkLst>
        <pc:graphicFrameChg chg="mod">
          <ac:chgData name="christophe CHUECOS-FONT" userId="7e57acaa-4bc6-4644-8edc-0ecdded28594" providerId="ADAL" clId="{9817B8E0-72E5-4A80-920F-95B62F123057}" dt="2021-02-05T12:35:22.637" v="2307"/>
          <ac:graphicFrameMkLst>
            <pc:docMk/>
            <pc:sldMk cId="18592871" sldId="757"/>
            <ac:graphicFrameMk id="6" creationId="{4A6E514C-D3C4-4B29-BB5C-DB98C7CA5742}"/>
          </ac:graphicFrameMkLst>
        </pc:graphicFrameChg>
      </pc:sldChg>
      <pc:sldChg chg="del">
        <pc:chgData name="christophe CHUECOS-FONT" userId="7e57acaa-4bc6-4644-8edc-0ecdded28594" providerId="ADAL" clId="{9817B8E0-72E5-4A80-920F-95B62F123057}" dt="2021-02-05T12:49:04.447" v="2727" actId="47"/>
        <pc:sldMkLst>
          <pc:docMk/>
          <pc:sldMk cId="411860545" sldId="758"/>
        </pc:sldMkLst>
      </pc:sldChg>
      <pc:sldChg chg="modSp add mod ord">
        <pc:chgData name="christophe CHUECOS-FONT" userId="7e57acaa-4bc6-4644-8edc-0ecdded28594" providerId="ADAL" clId="{9817B8E0-72E5-4A80-920F-95B62F123057}" dt="2021-02-05T12:49:53.037" v="2755" actId="122"/>
        <pc:sldMkLst>
          <pc:docMk/>
          <pc:sldMk cId="3419805560" sldId="759"/>
        </pc:sldMkLst>
        <pc:spChg chg="mod">
          <ac:chgData name="christophe CHUECOS-FONT" userId="7e57acaa-4bc6-4644-8edc-0ecdded28594" providerId="ADAL" clId="{9817B8E0-72E5-4A80-920F-95B62F123057}" dt="2021-02-05T12:49:53.037" v="2755" actId="122"/>
          <ac:spMkLst>
            <pc:docMk/>
            <pc:sldMk cId="3419805560" sldId="759"/>
            <ac:spMk id="2" creationId="{02517F6E-26E9-44E8-815E-774552D95FD0}"/>
          </ac:spMkLst>
        </pc:spChg>
      </pc:sldChg>
      <pc:sldChg chg="modSp add mod ord">
        <pc:chgData name="christophe CHUECOS-FONT" userId="7e57acaa-4bc6-4644-8edc-0ecdded28594" providerId="ADAL" clId="{9817B8E0-72E5-4A80-920F-95B62F123057}" dt="2021-02-05T12:49:34.742" v="2752" actId="20577"/>
        <pc:sldMkLst>
          <pc:docMk/>
          <pc:sldMk cId="3112461652" sldId="760"/>
        </pc:sldMkLst>
        <pc:spChg chg="mod">
          <ac:chgData name="christophe CHUECOS-FONT" userId="7e57acaa-4bc6-4644-8edc-0ecdded28594" providerId="ADAL" clId="{9817B8E0-72E5-4A80-920F-95B62F123057}" dt="2021-02-05T12:49:34.742" v="2752" actId="20577"/>
          <ac:spMkLst>
            <pc:docMk/>
            <pc:sldMk cId="3112461652" sldId="760"/>
            <ac:spMk id="2" creationId="{02517F6E-26E9-44E8-815E-774552D95FD0}"/>
          </ac:spMkLst>
        </pc:spChg>
      </pc:sldChg>
      <pc:sldChg chg="modSp add mod">
        <pc:chgData name="christophe CHUECOS-FONT" userId="7e57acaa-4bc6-4644-8edc-0ecdded28594" providerId="ADAL" clId="{9817B8E0-72E5-4A80-920F-95B62F123057}" dt="2021-02-05T13:07:16.399" v="3042" actId="1076"/>
        <pc:sldMkLst>
          <pc:docMk/>
          <pc:sldMk cId="212327455" sldId="761"/>
        </pc:sldMkLst>
        <pc:spChg chg="mod">
          <ac:chgData name="christophe CHUECOS-FONT" userId="7e57acaa-4bc6-4644-8edc-0ecdded28594" providerId="ADAL" clId="{9817B8E0-72E5-4A80-920F-95B62F123057}" dt="2021-02-05T13:07:13.807" v="3041" actId="1076"/>
          <ac:spMkLst>
            <pc:docMk/>
            <pc:sldMk cId="212327455" sldId="761"/>
            <ac:spMk id="2" creationId="{00000000-0000-0000-0000-000000000000}"/>
          </ac:spMkLst>
        </pc:spChg>
        <pc:spChg chg="mod">
          <ac:chgData name="christophe CHUECOS-FONT" userId="7e57acaa-4bc6-4644-8edc-0ecdded28594" providerId="ADAL" clId="{9817B8E0-72E5-4A80-920F-95B62F123057}" dt="2021-02-05T13:07:16.399" v="3042" actId="1076"/>
          <ac:spMkLst>
            <pc:docMk/>
            <pc:sldMk cId="212327455" sldId="761"/>
            <ac:spMk id="10" creationId="{2104DD9E-7F53-465D-8561-41BB61362ACA}"/>
          </ac:spMkLst>
        </pc:spChg>
      </pc:sldChg>
      <pc:sldChg chg="modSp add mod">
        <pc:chgData name="christophe CHUECOS-FONT" userId="7e57acaa-4bc6-4644-8edc-0ecdded28594" providerId="ADAL" clId="{9817B8E0-72E5-4A80-920F-95B62F123057}" dt="2021-02-05T13:07:28.880" v="3045" actId="20577"/>
        <pc:sldMkLst>
          <pc:docMk/>
          <pc:sldMk cId="2127276154" sldId="762"/>
        </pc:sldMkLst>
        <pc:spChg chg="mod">
          <ac:chgData name="christophe CHUECOS-FONT" userId="7e57acaa-4bc6-4644-8edc-0ecdded28594" providerId="ADAL" clId="{9817B8E0-72E5-4A80-920F-95B62F123057}" dt="2021-02-05T12:54:02.930" v="2817" actId="20577"/>
          <ac:spMkLst>
            <pc:docMk/>
            <pc:sldMk cId="2127276154" sldId="762"/>
            <ac:spMk id="2" creationId="{00000000-0000-0000-0000-000000000000}"/>
          </ac:spMkLst>
        </pc:spChg>
        <pc:spChg chg="mod">
          <ac:chgData name="christophe CHUECOS-FONT" userId="7e57acaa-4bc6-4644-8edc-0ecdded28594" providerId="ADAL" clId="{9817B8E0-72E5-4A80-920F-95B62F123057}" dt="2021-02-05T13:07:28.880" v="3045" actId="20577"/>
          <ac:spMkLst>
            <pc:docMk/>
            <pc:sldMk cId="2127276154" sldId="762"/>
            <ac:spMk id="10" creationId="{2104DD9E-7F53-465D-8561-41BB61362ACA}"/>
          </ac:spMkLst>
        </pc:spChg>
      </pc:sldChg>
      <pc:sldChg chg="delSp modSp add mod addCm delCm">
        <pc:chgData name="christophe CHUECOS-FONT" userId="7e57acaa-4bc6-4644-8edc-0ecdded28594" providerId="ADAL" clId="{9817B8E0-72E5-4A80-920F-95B62F123057}" dt="2021-02-05T13:08:14.558" v="3052" actId="20577"/>
        <pc:sldMkLst>
          <pc:docMk/>
          <pc:sldMk cId="4144782788" sldId="763"/>
        </pc:sldMkLst>
        <pc:spChg chg="mod">
          <ac:chgData name="christophe CHUECOS-FONT" userId="7e57acaa-4bc6-4644-8edc-0ecdded28594" providerId="ADAL" clId="{9817B8E0-72E5-4A80-920F-95B62F123057}" dt="2021-02-05T13:08:01.028" v="3048" actId="1076"/>
          <ac:spMkLst>
            <pc:docMk/>
            <pc:sldMk cId="4144782788" sldId="763"/>
            <ac:spMk id="2" creationId="{00000000-0000-0000-0000-000000000000}"/>
          </ac:spMkLst>
        </pc:spChg>
        <pc:spChg chg="del">
          <ac:chgData name="christophe CHUECOS-FONT" userId="7e57acaa-4bc6-4644-8edc-0ecdded28594" providerId="ADAL" clId="{9817B8E0-72E5-4A80-920F-95B62F123057}" dt="2021-02-05T12:55:12.116" v="2849" actId="21"/>
          <ac:spMkLst>
            <pc:docMk/>
            <pc:sldMk cId="4144782788" sldId="763"/>
            <ac:spMk id="4" creationId="{B907A768-CC25-4A4B-8C93-DA72B4C4D5E3}"/>
          </ac:spMkLst>
        </pc:spChg>
        <pc:spChg chg="mod">
          <ac:chgData name="christophe CHUECOS-FONT" userId="7e57acaa-4bc6-4644-8edc-0ecdded28594" providerId="ADAL" clId="{9817B8E0-72E5-4A80-920F-95B62F123057}" dt="2021-02-05T13:08:14.558" v="3052" actId="20577"/>
          <ac:spMkLst>
            <pc:docMk/>
            <pc:sldMk cId="4144782788" sldId="763"/>
            <ac:spMk id="10" creationId="{2104DD9E-7F53-465D-8561-41BB61362ACA}"/>
          </ac:spMkLst>
        </pc:spChg>
      </pc:sldChg>
      <pc:sldChg chg="modSp add mod">
        <pc:chgData name="christophe CHUECOS-FONT" userId="7e57acaa-4bc6-4644-8edc-0ecdded28594" providerId="ADAL" clId="{9817B8E0-72E5-4A80-920F-95B62F123057}" dt="2021-02-05T13:08:27.102" v="3054" actId="255"/>
        <pc:sldMkLst>
          <pc:docMk/>
          <pc:sldMk cId="3860019962" sldId="764"/>
        </pc:sldMkLst>
        <pc:spChg chg="mod">
          <ac:chgData name="christophe CHUECOS-FONT" userId="7e57acaa-4bc6-4644-8edc-0ecdded28594" providerId="ADAL" clId="{9817B8E0-72E5-4A80-920F-95B62F123057}" dt="2021-02-05T13:05:39.654" v="3027" actId="20577"/>
          <ac:spMkLst>
            <pc:docMk/>
            <pc:sldMk cId="3860019962" sldId="764"/>
            <ac:spMk id="2" creationId="{00000000-0000-0000-0000-000000000000}"/>
          </ac:spMkLst>
        </pc:spChg>
        <pc:spChg chg="mod">
          <ac:chgData name="christophe CHUECOS-FONT" userId="7e57acaa-4bc6-4644-8edc-0ecdded28594" providerId="ADAL" clId="{9817B8E0-72E5-4A80-920F-95B62F123057}" dt="2021-02-05T13:08:27.102" v="3054" actId="255"/>
          <ac:spMkLst>
            <pc:docMk/>
            <pc:sldMk cId="3860019962" sldId="764"/>
            <ac:spMk id="10" creationId="{2104DD9E-7F53-465D-8561-41BB61362ACA}"/>
          </ac:spMkLst>
        </pc:spChg>
      </pc:sldChg>
      <pc:sldChg chg="modSp add mod">
        <pc:chgData name="christophe CHUECOS-FONT" userId="7e57acaa-4bc6-4644-8edc-0ecdded28594" providerId="ADAL" clId="{9817B8E0-72E5-4A80-920F-95B62F123057}" dt="2021-02-05T13:08:45.211" v="3056" actId="2711"/>
        <pc:sldMkLst>
          <pc:docMk/>
          <pc:sldMk cId="2787990808" sldId="765"/>
        </pc:sldMkLst>
        <pc:spChg chg="mod">
          <ac:chgData name="christophe CHUECOS-FONT" userId="7e57acaa-4bc6-4644-8edc-0ecdded28594" providerId="ADAL" clId="{9817B8E0-72E5-4A80-920F-95B62F123057}" dt="2021-02-05T13:05:14.056" v="2977" actId="6549"/>
          <ac:spMkLst>
            <pc:docMk/>
            <pc:sldMk cId="2787990808" sldId="765"/>
            <ac:spMk id="2" creationId="{00000000-0000-0000-0000-000000000000}"/>
          </ac:spMkLst>
        </pc:spChg>
        <pc:spChg chg="mod">
          <ac:chgData name="christophe CHUECOS-FONT" userId="7e57acaa-4bc6-4644-8edc-0ecdded28594" providerId="ADAL" clId="{9817B8E0-72E5-4A80-920F-95B62F123057}" dt="2021-02-05T13:08:45.211" v="3056" actId="2711"/>
          <ac:spMkLst>
            <pc:docMk/>
            <pc:sldMk cId="2787990808" sldId="765"/>
            <ac:spMk id="10" creationId="{2104DD9E-7F53-465D-8561-41BB61362ACA}"/>
          </ac:spMkLst>
        </pc:spChg>
      </pc:sldChg>
      <pc:sldChg chg="modSp add mod">
        <pc:chgData name="christophe CHUECOS-FONT" userId="7e57acaa-4bc6-4644-8edc-0ecdded28594" providerId="ADAL" clId="{9817B8E0-72E5-4A80-920F-95B62F123057}" dt="2021-02-05T13:08:56.159" v="3058" actId="2711"/>
        <pc:sldMkLst>
          <pc:docMk/>
          <pc:sldMk cId="3006974179" sldId="766"/>
        </pc:sldMkLst>
        <pc:spChg chg="mod">
          <ac:chgData name="christophe CHUECOS-FONT" userId="7e57acaa-4bc6-4644-8edc-0ecdded28594" providerId="ADAL" clId="{9817B8E0-72E5-4A80-920F-95B62F123057}" dt="2021-02-05T13:08:56.159" v="3058" actId="2711"/>
          <ac:spMkLst>
            <pc:docMk/>
            <pc:sldMk cId="3006974179" sldId="766"/>
            <ac:spMk id="10" creationId="{2104DD9E-7F53-465D-8561-41BB61362ACA}"/>
          </ac:spMkLst>
        </pc:spChg>
      </pc:sldChg>
      <pc:sldChg chg="modSp add mod">
        <pc:chgData name="christophe CHUECOS-FONT" userId="7e57acaa-4bc6-4644-8edc-0ecdded28594" providerId="ADAL" clId="{9817B8E0-72E5-4A80-920F-95B62F123057}" dt="2021-02-05T13:09:53.568" v="3063" actId="20577"/>
        <pc:sldMkLst>
          <pc:docMk/>
          <pc:sldMk cId="3594099411" sldId="767"/>
        </pc:sldMkLst>
        <pc:spChg chg="mod">
          <ac:chgData name="christophe CHUECOS-FONT" userId="7e57acaa-4bc6-4644-8edc-0ecdded28594" providerId="ADAL" clId="{9817B8E0-72E5-4A80-920F-95B62F123057}" dt="2021-02-05T13:09:53.568" v="3063" actId="20577"/>
          <ac:spMkLst>
            <pc:docMk/>
            <pc:sldMk cId="3594099411" sldId="767"/>
            <ac:spMk id="10" creationId="{2104DD9E-7F53-465D-8561-41BB61362ACA}"/>
          </ac:spMkLst>
        </pc:spChg>
      </pc:sldChg>
      <pc:sldChg chg="modSp add mod">
        <pc:chgData name="christophe CHUECOS-FONT" userId="7e57acaa-4bc6-4644-8edc-0ecdded28594" providerId="ADAL" clId="{9817B8E0-72E5-4A80-920F-95B62F123057}" dt="2021-02-05T13:10:41.148" v="3067" actId="207"/>
        <pc:sldMkLst>
          <pc:docMk/>
          <pc:sldMk cId="3439461203" sldId="768"/>
        </pc:sldMkLst>
        <pc:spChg chg="mod">
          <ac:chgData name="christophe CHUECOS-FONT" userId="7e57acaa-4bc6-4644-8edc-0ecdded28594" providerId="ADAL" clId="{9817B8E0-72E5-4A80-920F-95B62F123057}" dt="2021-02-05T13:10:41.148" v="3067" actId="207"/>
          <ac:spMkLst>
            <pc:docMk/>
            <pc:sldMk cId="3439461203" sldId="768"/>
            <ac:spMk id="10" creationId="{2104DD9E-7F53-465D-8561-41BB61362ACA}"/>
          </ac:spMkLst>
        </pc:spChg>
      </pc:sldChg>
      <pc:sldChg chg="addSp delSp modSp add mod ord setBg setClrOvrMap">
        <pc:chgData name="christophe CHUECOS-FONT" userId="7e57acaa-4bc6-4644-8edc-0ecdded28594" providerId="ADAL" clId="{9817B8E0-72E5-4A80-920F-95B62F123057}" dt="2021-02-05T13:28:38.120" v="3219" actId="26606"/>
        <pc:sldMkLst>
          <pc:docMk/>
          <pc:sldMk cId="1646378701" sldId="769"/>
        </pc:sldMkLst>
        <pc:spChg chg="mod">
          <ac:chgData name="christophe CHUECOS-FONT" userId="7e57acaa-4bc6-4644-8edc-0ecdded28594" providerId="ADAL" clId="{9817B8E0-72E5-4A80-920F-95B62F123057}" dt="2021-02-05T13:28:38.120" v="3219" actId="26606"/>
          <ac:spMkLst>
            <pc:docMk/>
            <pc:sldMk cId="1646378701" sldId="769"/>
            <ac:spMk id="2" creationId="{55455007-8AF7-4CFF-8B0D-381E697B6724}"/>
          </ac:spMkLst>
        </pc:spChg>
        <pc:spChg chg="add del">
          <ac:chgData name="christophe CHUECOS-FONT" userId="7e57acaa-4bc6-4644-8edc-0ecdded28594" providerId="ADAL" clId="{9817B8E0-72E5-4A80-920F-95B62F123057}" dt="2021-02-05T13:28:38.120" v="3219" actId="26606"/>
          <ac:spMkLst>
            <pc:docMk/>
            <pc:sldMk cId="1646378701" sldId="769"/>
            <ac:spMk id="10" creationId="{07E773EB-1EC1-4E49-9DE2-E6F460497242}"/>
          </ac:spMkLst>
        </pc:spChg>
        <pc:spChg chg="add del">
          <ac:chgData name="christophe CHUECOS-FONT" userId="7e57acaa-4bc6-4644-8edc-0ecdded28594" providerId="ADAL" clId="{9817B8E0-72E5-4A80-920F-95B62F123057}" dt="2021-02-05T13:28:36.052" v="3216" actId="26606"/>
          <ac:spMkLst>
            <pc:docMk/>
            <pc:sldMk cId="1646378701" sldId="769"/>
            <ac:spMk id="15" creationId="{59A309A7-1751-4ABE-A3C1-EEC40366AD89}"/>
          </ac:spMkLst>
        </pc:spChg>
        <pc:spChg chg="add del">
          <ac:chgData name="christophe CHUECOS-FONT" userId="7e57acaa-4bc6-4644-8edc-0ecdded28594" providerId="ADAL" clId="{9817B8E0-72E5-4A80-920F-95B62F123057}" dt="2021-02-05T13:28:36.052" v="3216" actId="26606"/>
          <ac:spMkLst>
            <pc:docMk/>
            <pc:sldMk cId="1646378701" sldId="769"/>
            <ac:spMk id="17" creationId="{967D8EB6-EAE1-4F9C-B398-83321E287204}"/>
          </ac:spMkLst>
        </pc:spChg>
        <pc:spChg chg="add del">
          <ac:chgData name="christophe CHUECOS-FONT" userId="7e57acaa-4bc6-4644-8edc-0ecdded28594" providerId="ADAL" clId="{9817B8E0-72E5-4A80-920F-95B62F123057}" dt="2021-02-05T13:28:38.120" v="3218" actId="26606"/>
          <ac:spMkLst>
            <pc:docMk/>
            <pc:sldMk cId="1646378701" sldId="769"/>
            <ac:spMk id="19" creationId="{9B7AD9F6-8CE7-4299-8FC6-328F4DCD3FF9}"/>
          </ac:spMkLst>
        </pc:spChg>
        <pc:spChg chg="add del">
          <ac:chgData name="christophe CHUECOS-FONT" userId="7e57acaa-4bc6-4644-8edc-0ecdded28594" providerId="ADAL" clId="{9817B8E0-72E5-4A80-920F-95B62F123057}" dt="2021-02-05T13:28:38.120" v="3218" actId="26606"/>
          <ac:spMkLst>
            <pc:docMk/>
            <pc:sldMk cId="1646378701" sldId="769"/>
            <ac:spMk id="20" creationId="{F49775AF-8896-43EE-92C6-83497D6DC56F}"/>
          </ac:spMkLst>
        </pc:spChg>
        <pc:spChg chg="add">
          <ac:chgData name="christophe CHUECOS-FONT" userId="7e57acaa-4bc6-4644-8edc-0ecdded28594" providerId="ADAL" clId="{9817B8E0-72E5-4A80-920F-95B62F123057}" dt="2021-02-05T13:28:38.120" v="3219" actId="26606"/>
          <ac:spMkLst>
            <pc:docMk/>
            <pc:sldMk cId="1646378701" sldId="769"/>
            <ac:spMk id="22" creationId="{B50AB553-2A96-4A92-96F2-93548E096954}"/>
          </ac:spMkLst>
        </pc:spChg>
        <pc:graphicFrameChg chg="mod modGraphic">
          <ac:chgData name="christophe CHUECOS-FONT" userId="7e57acaa-4bc6-4644-8edc-0ecdded28594" providerId="ADAL" clId="{9817B8E0-72E5-4A80-920F-95B62F123057}" dt="2021-02-05T13:28:38.120" v="3219" actId="26606"/>
          <ac:graphicFrameMkLst>
            <pc:docMk/>
            <pc:sldMk cId="1646378701" sldId="769"/>
            <ac:graphicFrameMk id="5" creationId="{0C899C7D-CFDA-4D32-B2E9-07B40C3BB1B2}"/>
          </ac:graphicFrameMkLst>
        </pc:graphicFrameChg>
      </pc:sldChg>
      <pc:sldChg chg="addSp delSp modSp add mod ord">
        <pc:chgData name="christophe CHUECOS-FONT" userId="7e57acaa-4bc6-4644-8edc-0ecdded28594" providerId="ADAL" clId="{9817B8E0-72E5-4A80-920F-95B62F123057}" dt="2021-02-05T13:28:12.518" v="3212"/>
        <pc:sldMkLst>
          <pc:docMk/>
          <pc:sldMk cId="6719625" sldId="770"/>
        </pc:sldMkLst>
        <pc:spChg chg="mod">
          <ac:chgData name="christophe CHUECOS-FONT" userId="7e57acaa-4bc6-4644-8edc-0ecdded28594" providerId="ADAL" clId="{9817B8E0-72E5-4A80-920F-95B62F123057}" dt="2021-02-05T13:28:00.639" v="3208" actId="26606"/>
          <ac:spMkLst>
            <pc:docMk/>
            <pc:sldMk cId="6719625" sldId="770"/>
            <ac:spMk id="2" creationId="{55455007-8AF7-4CFF-8B0D-381E697B6724}"/>
          </ac:spMkLst>
        </pc:spChg>
        <pc:spChg chg="del">
          <ac:chgData name="christophe CHUECOS-FONT" userId="7e57acaa-4bc6-4644-8edc-0ecdded28594" providerId="ADAL" clId="{9817B8E0-72E5-4A80-920F-95B62F123057}" dt="2021-02-05T13:28:00.639" v="3208" actId="26606"/>
          <ac:spMkLst>
            <pc:docMk/>
            <pc:sldMk cId="6719625" sldId="770"/>
            <ac:spMk id="10" creationId="{07E773EB-1EC1-4E49-9DE2-E6F460497242}"/>
          </ac:spMkLst>
        </pc:spChg>
        <pc:spChg chg="add">
          <ac:chgData name="christophe CHUECOS-FONT" userId="7e57acaa-4bc6-4644-8edc-0ecdded28594" providerId="ADAL" clId="{9817B8E0-72E5-4A80-920F-95B62F123057}" dt="2021-02-05T13:28:00.639" v="3208" actId="26606"/>
          <ac:spMkLst>
            <pc:docMk/>
            <pc:sldMk cId="6719625" sldId="770"/>
            <ac:spMk id="15" creationId="{257363FD-7E77-4145-9483-331A807ADF0E}"/>
          </ac:spMkLst>
        </pc:spChg>
        <pc:graphicFrameChg chg="mod modGraphic">
          <ac:chgData name="christophe CHUECOS-FONT" userId="7e57acaa-4bc6-4644-8edc-0ecdded28594" providerId="ADAL" clId="{9817B8E0-72E5-4A80-920F-95B62F123057}" dt="2021-02-05T13:28:12.518" v="3212"/>
          <ac:graphicFrameMkLst>
            <pc:docMk/>
            <pc:sldMk cId="6719625" sldId="770"/>
            <ac:graphicFrameMk id="5" creationId="{0C899C7D-CFDA-4D32-B2E9-07B40C3BB1B2}"/>
          </ac:graphicFrameMkLst>
        </pc:graphicFrame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svg"/><Relationship Id="rId1" Type="http://schemas.openxmlformats.org/officeDocument/2006/relationships/image" Target="../media/image4.png"/><Relationship Id="rId4" Type="http://schemas.openxmlformats.org/officeDocument/2006/relationships/image" Target="../media/image7.svg"/></Relationships>
</file>

<file path=ppt/diagrams/_rels/data4.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hyperlink" Target="https://ec.europa.eu/commission/presscorner/detail/fr/IP_19_781" TargetMode="Externa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diagrams/_rels/data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hyperlink" Target="https://www.duperrin.com/2017/08/09/culture-entreprise-transformation-digitale/" TargetMode="External"/><Relationship Id="rId1" Type="http://schemas.openxmlformats.org/officeDocument/2006/relationships/image" Target="../media/image22.jpg"/></Relationships>
</file>

<file path=ppt/diagrams/_rels/data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4" Type="http://schemas.openxmlformats.org/officeDocument/2006/relationships/image" Target="../media/image2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svg"/><Relationship Id="rId1" Type="http://schemas.openxmlformats.org/officeDocument/2006/relationships/image" Target="../media/image4.png"/><Relationship Id="rId4" Type="http://schemas.openxmlformats.org/officeDocument/2006/relationships/image" Target="../media/image7.svg"/></Relationships>
</file>

<file path=ppt/diagrams/_rels/drawing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ec.europa.eu/commission/presscorner/detail/fr/IP_19_781" TargetMode="External"/><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rawing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hyperlink" Target="https://www.duperrin.com/2017/08/09/culture-entreprise-transformation-digitale/" TargetMode="External"/><Relationship Id="rId1" Type="http://schemas.openxmlformats.org/officeDocument/2006/relationships/image" Target="../media/image22.jpg"/></Relationships>
</file>

<file path=ppt/diagrams/_rels/drawing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4" Type="http://schemas.openxmlformats.org/officeDocument/2006/relationships/image" Target="../media/image27.svg"/></Relationships>
</file>

<file path=ppt/diagrams/colors1.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18/5/colors/Iconchunking_neutralbg_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a:alpha val="0"/>
      </a:schemeClr>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CA5B7E-21A6-4DC3-AEB6-73C0341295A9}" type="doc">
      <dgm:prSet loTypeId="urn:microsoft.com/office/officeart/2018/2/layout/Icon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E795DB93-7A97-450F-98F4-ED1E9136DB97}">
      <dgm:prSet/>
      <dgm:spPr/>
      <dgm:t>
        <a:bodyPr/>
        <a:lstStyle/>
        <a:p>
          <a:pPr>
            <a:lnSpc>
              <a:spcPct val="100000"/>
            </a:lnSpc>
          </a:pPr>
          <a:r>
            <a:rPr lang="en-US" dirty="0" err="1"/>
            <a:t>L’expert-comptable</a:t>
          </a:r>
          <a:endParaRPr lang="en-US" dirty="0"/>
        </a:p>
      </dgm:t>
    </dgm:pt>
    <dgm:pt modelId="{5B8FA836-B932-461E-8FB8-E5B80EA0822F}" type="parTrans" cxnId="{B02DAE81-278C-4C87-851D-4AB83F77BA19}">
      <dgm:prSet/>
      <dgm:spPr/>
      <dgm:t>
        <a:bodyPr/>
        <a:lstStyle/>
        <a:p>
          <a:endParaRPr lang="en-US"/>
        </a:p>
      </dgm:t>
    </dgm:pt>
    <dgm:pt modelId="{A1C8728D-DD21-4CAC-83E7-6F49F6B34D00}" type="sibTrans" cxnId="{B02DAE81-278C-4C87-851D-4AB83F77BA19}">
      <dgm:prSet/>
      <dgm:spPr/>
      <dgm:t>
        <a:bodyPr/>
        <a:lstStyle/>
        <a:p>
          <a:endParaRPr lang="en-US"/>
        </a:p>
      </dgm:t>
    </dgm:pt>
    <dgm:pt modelId="{C1E51F19-9EB4-4BFA-9965-31A70CF860D2}">
      <dgm:prSet/>
      <dgm:spPr/>
      <dgm:t>
        <a:bodyPr/>
        <a:lstStyle/>
        <a:p>
          <a:pPr>
            <a:lnSpc>
              <a:spcPct val="100000"/>
            </a:lnSpc>
          </a:pPr>
          <a:r>
            <a:rPr lang="en-US" dirty="0"/>
            <a:t>Le </a:t>
          </a:r>
          <a:r>
            <a:rPr lang="en-US" dirty="0" err="1"/>
            <a:t>salarié</a:t>
          </a:r>
          <a:r>
            <a:rPr lang="en-US" dirty="0"/>
            <a:t> (</a:t>
          </a:r>
          <a:r>
            <a:rPr lang="en-US" dirty="0" err="1"/>
            <a:t>Ctt</a:t>
          </a:r>
          <a:r>
            <a:rPr lang="en-US" dirty="0"/>
            <a:t> de W)</a:t>
          </a:r>
        </a:p>
      </dgm:t>
    </dgm:pt>
    <dgm:pt modelId="{4B84D0E7-894C-4089-9E92-AB79AF63F277}" type="parTrans" cxnId="{6C5E4B9F-D674-45F3-AA7C-E485FF4F2786}">
      <dgm:prSet/>
      <dgm:spPr/>
      <dgm:t>
        <a:bodyPr/>
        <a:lstStyle/>
        <a:p>
          <a:endParaRPr lang="en-US"/>
        </a:p>
      </dgm:t>
    </dgm:pt>
    <dgm:pt modelId="{B70D632C-0E88-46DE-AEEF-23B4995490BB}" type="sibTrans" cxnId="{6C5E4B9F-D674-45F3-AA7C-E485FF4F2786}">
      <dgm:prSet/>
      <dgm:spPr/>
      <dgm:t>
        <a:bodyPr/>
        <a:lstStyle/>
        <a:p>
          <a:endParaRPr lang="en-US"/>
        </a:p>
      </dgm:t>
    </dgm:pt>
    <dgm:pt modelId="{1E55ED33-0951-4B2B-A3D5-5EFB734522D4}" type="pres">
      <dgm:prSet presAssocID="{2CCA5B7E-21A6-4DC3-AEB6-73C0341295A9}" presName="root" presStyleCnt="0">
        <dgm:presLayoutVars>
          <dgm:dir/>
          <dgm:resizeHandles val="exact"/>
        </dgm:presLayoutVars>
      </dgm:prSet>
      <dgm:spPr/>
    </dgm:pt>
    <dgm:pt modelId="{E9491E1C-A07B-4BE9-9851-80ED2972F1A5}" type="pres">
      <dgm:prSet presAssocID="{E795DB93-7A97-450F-98F4-ED1E9136DB97}" presName="compNode" presStyleCnt="0"/>
      <dgm:spPr/>
    </dgm:pt>
    <dgm:pt modelId="{66A3DAA9-DB59-4706-A27B-466FAABE7F09}" type="pres">
      <dgm:prSet presAssocID="{E795DB93-7A97-450F-98F4-ED1E9136DB97}"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ptain"/>
        </a:ext>
      </dgm:extLst>
    </dgm:pt>
    <dgm:pt modelId="{C2CD11CD-23CA-4935-BF03-B26B488EAA20}" type="pres">
      <dgm:prSet presAssocID="{E795DB93-7A97-450F-98F4-ED1E9136DB97}" presName="spaceRect" presStyleCnt="0"/>
      <dgm:spPr/>
    </dgm:pt>
    <dgm:pt modelId="{8CFEC6EC-C75B-4D5F-BF78-3A7B6AC37F8F}" type="pres">
      <dgm:prSet presAssocID="{E795DB93-7A97-450F-98F4-ED1E9136DB97}" presName="textRect" presStyleLbl="revTx" presStyleIdx="0" presStyleCnt="2">
        <dgm:presLayoutVars>
          <dgm:chMax val="1"/>
          <dgm:chPref val="1"/>
        </dgm:presLayoutVars>
      </dgm:prSet>
      <dgm:spPr/>
    </dgm:pt>
    <dgm:pt modelId="{A534A6A3-6FED-4FC9-93D3-56D82216C7D0}" type="pres">
      <dgm:prSet presAssocID="{A1C8728D-DD21-4CAC-83E7-6F49F6B34D00}" presName="sibTrans" presStyleCnt="0"/>
      <dgm:spPr/>
    </dgm:pt>
    <dgm:pt modelId="{1EEB9D7E-5DEB-40EC-8DD9-776DDE6FFF80}" type="pres">
      <dgm:prSet presAssocID="{C1E51F19-9EB4-4BFA-9965-31A70CF860D2}" presName="compNode" presStyleCnt="0"/>
      <dgm:spPr/>
    </dgm:pt>
    <dgm:pt modelId="{36F343E4-A148-4814-80CB-87DAED571C9A}" type="pres">
      <dgm:prSet presAssocID="{C1E51F19-9EB4-4BFA-9965-31A70CF860D2}"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Office Worker"/>
        </a:ext>
      </dgm:extLst>
    </dgm:pt>
    <dgm:pt modelId="{701675BD-9CB4-4207-9086-136ED0A7226E}" type="pres">
      <dgm:prSet presAssocID="{C1E51F19-9EB4-4BFA-9965-31A70CF860D2}" presName="spaceRect" presStyleCnt="0"/>
      <dgm:spPr/>
    </dgm:pt>
    <dgm:pt modelId="{49798EB1-FC90-4757-94C7-B1833DF5E1FC}" type="pres">
      <dgm:prSet presAssocID="{C1E51F19-9EB4-4BFA-9965-31A70CF860D2}" presName="textRect" presStyleLbl="revTx" presStyleIdx="1" presStyleCnt="2">
        <dgm:presLayoutVars>
          <dgm:chMax val="1"/>
          <dgm:chPref val="1"/>
        </dgm:presLayoutVars>
      </dgm:prSet>
      <dgm:spPr/>
    </dgm:pt>
  </dgm:ptLst>
  <dgm:cxnLst>
    <dgm:cxn modelId="{A25F8523-40B1-47DB-8627-56E8B6BBAFEE}" type="presOf" srcId="{C1E51F19-9EB4-4BFA-9965-31A70CF860D2}" destId="{49798EB1-FC90-4757-94C7-B1833DF5E1FC}" srcOrd="0" destOrd="0" presId="urn:microsoft.com/office/officeart/2018/2/layout/IconLabelList"/>
    <dgm:cxn modelId="{B02DAE81-278C-4C87-851D-4AB83F77BA19}" srcId="{2CCA5B7E-21A6-4DC3-AEB6-73C0341295A9}" destId="{E795DB93-7A97-450F-98F4-ED1E9136DB97}" srcOrd="0" destOrd="0" parTransId="{5B8FA836-B932-461E-8FB8-E5B80EA0822F}" sibTransId="{A1C8728D-DD21-4CAC-83E7-6F49F6B34D00}"/>
    <dgm:cxn modelId="{6C5E4B9F-D674-45F3-AA7C-E485FF4F2786}" srcId="{2CCA5B7E-21A6-4DC3-AEB6-73C0341295A9}" destId="{C1E51F19-9EB4-4BFA-9965-31A70CF860D2}" srcOrd="1" destOrd="0" parTransId="{4B84D0E7-894C-4089-9E92-AB79AF63F277}" sibTransId="{B70D632C-0E88-46DE-AEEF-23B4995490BB}"/>
    <dgm:cxn modelId="{DAE7ABDC-1BC6-4E9B-9D0E-44F6166AF3D3}" type="presOf" srcId="{E795DB93-7A97-450F-98F4-ED1E9136DB97}" destId="{8CFEC6EC-C75B-4D5F-BF78-3A7B6AC37F8F}" srcOrd="0" destOrd="0" presId="urn:microsoft.com/office/officeart/2018/2/layout/IconLabelList"/>
    <dgm:cxn modelId="{DE1808F8-0DF3-4D2C-88AB-8EA1546BE934}" type="presOf" srcId="{2CCA5B7E-21A6-4DC3-AEB6-73C0341295A9}" destId="{1E55ED33-0951-4B2B-A3D5-5EFB734522D4}" srcOrd="0" destOrd="0" presId="urn:microsoft.com/office/officeart/2018/2/layout/IconLabelList"/>
    <dgm:cxn modelId="{60D5292A-C524-4DF4-AADE-B3151894724B}" type="presParOf" srcId="{1E55ED33-0951-4B2B-A3D5-5EFB734522D4}" destId="{E9491E1C-A07B-4BE9-9851-80ED2972F1A5}" srcOrd="0" destOrd="0" presId="urn:microsoft.com/office/officeart/2018/2/layout/IconLabelList"/>
    <dgm:cxn modelId="{0EA62072-EA38-4239-94A6-127C11AD6FD9}" type="presParOf" srcId="{E9491E1C-A07B-4BE9-9851-80ED2972F1A5}" destId="{66A3DAA9-DB59-4706-A27B-466FAABE7F09}" srcOrd="0" destOrd="0" presId="urn:microsoft.com/office/officeart/2018/2/layout/IconLabelList"/>
    <dgm:cxn modelId="{AE2ECE8F-1624-4790-A64F-1E3F702AA623}" type="presParOf" srcId="{E9491E1C-A07B-4BE9-9851-80ED2972F1A5}" destId="{C2CD11CD-23CA-4935-BF03-B26B488EAA20}" srcOrd="1" destOrd="0" presId="urn:microsoft.com/office/officeart/2018/2/layout/IconLabelList"/>
    <dgm:cxn modelId="{4C057801-5681-4B03-AE78-8BAD5089009A}" type="presParOf" srcId="{E9491E1C-A07B-4BE9-9851-80ED2972F1A5}" destId="{8CFEC6EC-C75B-4D5F-BF78-3A7B6AC37F8F}" srcOrd="2" destOrd="0" presId="urn:microsoft.com/office/officeart/2018/2/layout/IconLabelList"/>
    <dgm:cxn modelId="{A20AF26A-9EA8-4652-A8EE-4D0C4A5F920F}" type="presParOf" srcId="{1E55ED33-0951-4B2B-A3D5-5EFB734522D4}" destId="{A534A6A3-6FED-4FC9-93D3-56D82216C7D0}" srcOrd="1" destOrd="0" presId="urn:microsoft.com/office/officeart/2018/2/layout/IconLabelList"/>
    <dgm:cxn modelId="{3C602942-FA68-466C-915D-4C4FBC7BE76C}" type="presParOf" srcId="{1E55ED33-0951-4B2B-A3D5-5EFB734522D4}" destId="{1EEB9D7E-5DEB-40EC-8DD9-776DDE6FFF80}" srcOrd="2" destOrd="0" presId="urn:microsoft.com/office/officeart/2018/2/layout/IconLabelList"/>
    <dgm:cxn modelId="{88C31D1C-8E1C-42D7-A58D-A60E81EB67F0}" type="presParOf" srcId="{1EEB9D7E-5DEB-40EC-8DD9-776DDE6FFF80}" destId="{36F343E4-A148-4814-80CB-87DAED571C9A}" srcOrd="0" destOrd="0" presId="urn:microsoft.com/office/officeart/2018/2/layout/IconLabelList"/>
    <dgm:cxn modelId="{0F9226BA-3AA4-4CC7-B897-1F2FC89799B5}" type="presParOf" srcId="{1EEB9D7E-5DEB-40EC-8DD9-776DDE6FFF80}" destId="{701675BD-9CB4-4207-9086-136ED0A7226E}" srcOrd="1" destOrd="0" presId="urn:microsoft.com/office/officeart/2018/2/layout/IconLabelList"/>
    <dgm:cxn modelId="{6B92DCCB-BE64-4226-B3CB-5DE85D0F18C6}" type="presParOf" srcId="{1EEB9D7E-5DEB-40EC-8DD9-776DDE6FFF80}" destId="{49798EB1-FC90-4757-94C7-B1833DF5E1FC}"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87C544D-3023-4F60-B53C-768C848DCD54}" type="doc">
      <dgm:prSet loTypeId="urn:microsoft.com/office/officeart/2005/8/layout/vProcess5" loCatId="process" qsTypeId="urn:microsoft.com/office/officeart/2005/8/quickstyle/simple2" qsCatId="simple" csTypeId="urn:microsoft.com/office/officeart/2005/8/colors/accent1_2" csCatId="accent1" phldr="1"/>
      <dgm:spPr/>
      <dgm:t>
        <a:bodyPr/>
        <a:lstStyle/>
        <a:p>
          <a:endParaRPr lang="fr-FR"/>
        </a:p>
      </dgm:t>
    </dgm:pt>
    <dgm:pt modelId="{7246902C-F380-4244-A491-559EECE887E9}">
      <dgm:prSet phldrT="[Texte]" custT="1"/>
      <dgm:spPr/>
      <dgm:t>
        <a:bodyPr/>
        <a:lstStyle/>
        <a:p>
          <a:pPr algn="ctr"/>
          <a:r>
            <a:rPr lang="fr-FR" sz="1800" kern="1200" dirty="0">
              <a:latin typeface="Arial" panose="020B0604020202020204" pitchFamily="34" charset="0"/>
              <a:cs typeface="Arial" panose="020B0604020202020204" pitchFamily="34" charset="0"/>
            </a:rPr>
            <a:t>60 - Achats (sauf 603)</a:t>
          </a:r>
        </a:p>
        <a:p>
          <a:pPr algn="l"/>
          <a:r>
            <a:rPr lang="fr-FR" sz="1800" kern="1200" dirty="0">
              <a:latin typeface="Arial" panose="020B0604020202020204" pitchFamily="34" charset="0"/>
              <a:cs typeface="Arial" panose="020B0604020202020204" pitchFamily="34" charset="0"/>
            </a:rPr>
            <a:t>601 - Achats stockés - Matières premières (et fournitures)</a:t>
          </a:r>
        </a:p>
        <a:p>
          <a:pPr algn="l"/>
          <a:r>
            <a:rPr lang="fr-FR" sz="2000" kern="1200" dirty="0">
              <a:solidFill>
                <a:srgbClr val="FFFFFF"/>
              </a:solidFill>
              <a:latin typeface="+mj-lt"/>
              <a:ea typeface="+mj-ea"/>
              <a:cs typeface="+mj-cs"/>
            </a:rPr>
            <a:t>602 - Achats stockés – Autres approvisionnements</a:t>
          </a:r>
        </a:p>
        <a:p>
          <a:pPr algn="l"/>
          <a:r>
            <a:rPr lang="fr-FR" sz="2000" kern="1200" dirty="0">
              <a:solidFill>
                <a:srgbClr val="FFFFFF"/>
              </a:solidFill>
              <a:latin typeface="+mj-lt"/>
              <a:ea typeface="+mj-ea"/>
              <a:cs typeface="+mj-cs"/>
            </a:rPr>
            <a:t>603 Variation de stocks</a:t>
          </a:r>
        </a:p>
        <a:p>
          <a:pPr algn="l"/>
          <a:r>
            <a:rPr lang="fr-FR" sz="2000" kern="1200" dirty="0">
              <a:solidFill>
                <a:srgbClr val="FFFFFF"/>
              </a:solidFill>
              <a:latin typeface="+mj-lt"/>
              <a:ea typeface="+mj-ea"/>
              <a:cs typeface="+mj-cs"/>
            </a:rPr>
            <a:t>604 - Achats d'études et prestations de services</a:t>
          </a:r>
        </a:p>
        <a:p>
          <a:pPr algn="l"/>
          <a:r>
            <a:rPr lang="fr-FR" sz="2000" kern="1200" dirty="0">
              <a:solidFill>
                <a:srgbClr val="FFFFFF"/>
              </a:solidFill>
              <a:latin typeface="+mj-lt"/>
              <a:ea typeface="+mj-ea"/>
              <a:cs typeface="+mj-cs"/>
            </a:rPr>
            <a:t>605 - Achats de matériel, équipements et travaux</a:t>
          </a:r>
        </a:p>
        <a:p>
          <a:pPr algn="l"/>
          <a:r>
            <a:rPr lang="fr-FR" sz="2000" kern="1200" dirty="0">
              <a:solidFill>
                <a:srgbClr val="FFFFFF"/>
              </a:solidFill>
              <a:latin typeface="+mj-lt"/>
              <a:ea typeface="+mj-ea"/>
              <a:cs typeface="+mj-cs"/>
            </a:rPr>
            <a:t>606 - Achats non stockés de matière et fournitures</a:t>
          </a:r>
        </a:p>
        <a:p>
          <a:pPr algn="l"/>
          <a:r>
            <a:rPr lang="fr-FR" sz="2000" kern="1200" dirty="0">
              <a:solidFill>
                <a:srgbClr val="FFFFFF"/>
              </a:solidFill>
              <a:latin typeface="+mj-lt"/>
              <a:ea typeface="+mj-ea"/>
              <a:cs typeface="+mj-cs"/>
            </a:rPr>
            <a:t>607 - Achats de marchandises</a:t>
          </a:r>
        </a:p>
        <a:p>
          <a:pPr algn="l"/>
          <a:r>
            <a:rPr lang="fr-FR" sz="2000" kern="1200" dirty="0">
              <a:solidFill>
                <a:srgbClr val="FFFFFF"/>
              </a:solidFill>
              <a:latin typeface="+mj-lt"/>
              <a:ea typeface="+mj-ea"/>
              <a:cs typeface="+mj-cs"/>
            </a:rPr>
            <a:t>609 - Rabais, remises et ristournes obtenus sur achats</a:t>
          </a:r>
        </a:p>
        <a:p>
          <a:pPr algn="ctr"/>
          <a:endParaRPr lang="fr-FR" sz="700" kern="1200" dirty="0">
            <a:latin typeface="Arial" panose="020B0604020202020204" pitchFamily="34" charset="0"/>
            <a:ea typeface="+mn-ea"/>
            <a:cs typeface="Arial" panose="020B0604020202020204" pitchFamily="34" charset="0"/>
          </a:endParaRP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DE71EF63-F0A2-4E1F-9EFF-6CF466F74FE1}" type="pres">
      <dgm:prSet presAssocID="{787C544D-3023-4F60-B53C-768C848DCD54}" presName="outerComposite" presStyleCnt="0">
        <dgm:presLayoutVars>
          <dgm:chMax val="5"/>
          <dgm:dir/>
          <dgm:resizeHandles val="exact"/>
        </dgm:presLayoutVars>
      </dgm:prSet>
      <dgm:spPr/>
    </dgm:pt>
    <dgm:pt modelId="{B64CC261-BD97-4DFF-9209-B3228AAB22D4}" type="pres">
      <dgm:prSet presAssocID="{787C544D-3023-4F60-B53C-768C848DCD54}" presName="dummyMaxCanvas" presStyleCnt="0">
        <dgm:presLayoutVars/>
      </dgm:prSet>
      <dgm:spPr/>
    </dgm:pt>
    <dgm:pt modelId="{67D84562-8FA5-49BC-8F2E-C4E3ABC0F302}" type="pres">
      <dgm:prSet presAssocID="{787C544D-3023-4F60-B53C-768C848DCD54}" presName="OneNode_1" presStyleLbl="node1" presStyleIdx="0" presStyleCnt="1" custScaleY="200000">
        <dgm:presLayoutVars>
          <dgm:bulletEnabled val="1"/>
        </dgm:presLayoutVars>
      </dgm:prSet>
      <dgm:spPr/>
    </dgm:pt>
  </dgm:ptLst>
  <dgm:cxnLst>
    <dgm:cxn modelId="{CE416505-0FAC-4AAF-AC05-B853CC37A930}" type="presOf" srcId="{787C544D-3023-4F60-B53C-768C848DCD54}" destId="{DE71EF63-F0A2-4E1F-9EFF-6CF466F74FE1}" srcOrd="0" destOrd="0" presId="urn:microsoft.com/office/officeart/2005/8/layout/vProcess5"/>
    <dgm:cxn modelId="{CBB5A1BD-36F8-468B-A910-A548017FF346}" type="presOf" srcId="{7246902C-F380-4244-A491-559EECE887E9}" destId="{67D84562-8FA5-49BC-8F2E-C4E3ABC0F302}" srcOrd="0" destOrd="0" presId="urn:microsoft.com/office/officeart/2005/8/layout/vProcess5"/>
    <dgm:cxn modelId="{E06F28F0-0187-4070-8490-6E6A76C82FBA}" srcId="{787C544D-3023-4F60-B53C-768C848DCD54}" destId="{7246902C-F380-4244-A491-559EECE887E9}" srcOrd="0" destOrd="0" parTransId="{C2C3550A-F1DD-4C8C-85ED-D96508225E30}" sibTransId="{19CBF419-9E92-4D5F-A934-D88F01C9054D}"/>
    <dgm:cxn modelId="{9F5EF7D9-55FA-4E61-9B83-5BE7CAEA6159}" type="presParOf" srcId="{DE71EF63-F0A2-4E1F-9EFF-6CF466F74FE1}" destId="{B64CC261-BD97-4DFF-9209-B3228AAB22D4}" srcOrd="0" destOrd="0" presId="urn:microsoft.com/office/officeart/2005/8/layout/vProcess5"/>
    <dgm:cxn modelId="{2024F099-8755-43F5-86F0-0F2B1D2DD014}" type="presParOf" srcId="{DE71EF63-F0A2-4E1F-9EFF-6CF466F74FE1}" destId="{67D84562-8FA5-49BC-8F2E-C4E3ABC0F302}" srcOrd="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87C544D-3023-4F60-B53C-768C848DCD54}" type="doc">
      <dgm:prSet loTypeId="urn:microsoft.com/office/officeart/2005/8/layout/vProcess5" loCatId="process" qsTypeId="urn:microsoft.com/office/officeart/2005/8/quickstyle/simple2" qsCatId="simple" csTypeId="urn:microsoft.com/office/officeart/2005/8/colors/accent1_2" csCatId="accent1" phldr="1"/>
      <dgm:spPr/>
      <dgm:t>
        <a:bodyPr/>
        <a:lstStyle/>
        <a:p>
          <a:endParaRPr lang="fr-FR"/>
        </a:p>
      </dgm:t>
    </dgm:pt>
    <dgm:pt modelId="{7246902C-F380-4244-A491-559EECE887E9}">
      <dgm:prSet phldrT="[Texte]" custT="1"/>
      <dgm:spPr/>
      <dgm:t>
        <a:bodyPr/>
        <a:lstStyle/>
        <a:p>
          <a:pPr algn="ctr"/>
          <a:r>
            <a:rPr lang="fr-FR" sz="1800" kern="1200" dirty="0">
              <a:latin typeface="Arial" panose="020B0604020202020204" pitchFamily="34" charset="0"/>
              <a:cs typeface="Arial" panose="020B0604020202020204" pitchFamily="34" charset="0"/>
            </a:rPr>
            <a:t>61 – Service extérieurs </a:t>
          </a:r>
        </a:p>
        <a:p>
          <a:r>
            <a:rPr lang="fr-FR" sz="1800" kern="1200" dirty="0">
              <a:latin typeface="Arial" panose="020B0604020202020204" pitchFamily="34" charset="0"/>
              <a:cs typeface="Arial" panose="020B0604020202020204" pitchFamily="34" charset="0"/>
            </a:rPr>
            <a:t>611 - Sous-traitance générale</a:t>
          </a:r>
        </a:p>
        <a:p>
          <a:r>
            <a:rPr lang="fr-FR" sz="1800" kern="1200" dirty="0">
              <a:latin typeface="Arial" panose="020B0604020202020204" pitchFamily="34" charset="0"/>
              <a:cs typeface="Arial" panose="020B0604020202020204" pitchFamily="34" charset="0"/>
            </a:rPr>
            <a:t>612 - Redevances de crédit-bail</a:t>
          </a:r>
        </a:p>
        <a:p>
          <a:r>
            <a:rPr lang="fr-FR" sz="1800" kern="1200" dirty="0">
              <a:latin typeface="Arial" panose="020B0604020202020204" pitchFamily="34" charset="0"/>
              <a:cs typeface="Arial" panose="020B0604020202020204" pitchFamily="34" charset="0"/>
            </a:rPr>
            <a:t>613 – Locations</a:t>
          </a:r>
        </a:p>
        <a:p>
          <a:r>
            <a:rPr lang="fr-FR" sz="1800" kern="1200" dirty="0">
              <a:latin typeface="Arial" panose="020B0604020202020204" pitchFamily="34" charset="0"/>
              <a:cs typeface="Arial" panose="020B0604020202020204" pitchFamily="34" charset="0"/>
            </a:rPr>
            <a:t>614 - Charges locatives et de copropriété</a:t>
          </a:r>
        </a:p>
        <a:p>
          <a:r>
            <a:rPr lang="fr-FR" sz="1800" kern="1200" dirty="0">
              <a:latin typeface="Arial" panose="020B0604020202020204" pitchFamily="34" charset="0"/>
              <a:cs typeface="Arial" panose="020B0604020202020204" pitchFamily="34" charset="0"/>
            </a:rPr>
            <a:t>615 - Entretien et réparations</a:t>
          </a:r>
        </a:p>
        <a:p>
          <a:r>
            <a:rPr lang="fr-FR" sz="1800" kern="1200" dirty="0">
              <a:latin typeface="Arial" panose="020B0604020202020204" pitchFamily="34" charset="0"/>
              <a:cs typeface="Arial" panose="020B0604020202020204" pitchFamily="34" charset="0"/>
            </a:rPr>
            <a:t>616 - Primes d'assurances</a:t>
          </a:r>
        </a:p>
        <a:p>
          <a:r>
            <a:rPr lang="fr-FR" sz="1800" kern="1200" dirty="0">
              <a:latin typeface="Arial" panose="020B0604020202020204" pitchFamily="34" charset="0"/>
              <a:cs typeface="Arial" panose="020B0604020202020204" pitchFamily="34" charset="0"/>
            </a:rPr>
            <a:t>617 – Etudes et recherches</a:t>
          </a:r>
        </a:p>
        <a:p>
          <a:r>
            <a:rPr lang="fr-FR" sz="1800" kern="1200" dirty="0">
              <a:latin typeface="Arial" panose="020B0604020202020204" pitchFamily="34" charset="0"/>
              <a:cs typeface="Arial" panose="020B0604020202020204" pitchFamily="34" charset="0"/>
            </a:rPr>
            <a:t>618 – Documentation</a:t>
          </a:r>
        </a:p>
        <a:p>
          <a:r>
            <a:rPr lang="fr-FR" sz="1800" kern="1200" dirty="0">
              <a:latin typeface="Arial" panose="020B0604020202020204" pitchFamily="34" charset="0"/>
              <a:cs typeface="Arial" panose="020B0604020202020204" pitchFamily="34" charset="0"/>
            </a:rPr>
            <a:t>619 - RRR</a:t>
          </a:r>
        </a:p>
        <a:p>
          <a:endParaRPr lang="fr-FR" sz="2000" kern="1200" dirty="0">
            <a:solidFill>
              <a:srgbClr val="FFFFFF"/>
            </a:solidFill>
            <a:latin typeface="+mj-lt"/>
            <a:ea typeface="+mj-ea"/>
            <a:cs typeface="+mj-cs"/>
          </a:endParaRPr>
        </a:p>
        <a:p>
          <a:pPr algn="ctr"/>
          <a:endParaRPr lang="fr-FR" sz="700" kern="1200" dirty="0">
            <a:latin typeface="Arial" panose="020B0604020202020204" pitchFamily="34" charset="0"/>
            <a:ea typeface="+mn-ea"/>
            <a:cs typeface="Arial" panose="020B0604020202020204" pitchFamily="34" charset="0"/>
          </a:endParaRP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DE71EF63-F0A2-4E1F-9EFF-6CF466F74FE1}" type="pres">
      <dgm:prSet presAssocID="{787C544D-3023-4F60-B53C-768C848DCD54}" presName="outerComposite" presStyleCnt="0">
        <dgm:presLayoutVars>
          <dgm:chMax val="5"/>
          <dgm:dir/>
          <dgm:resizeHandles val="exact"/>
        </dgm:presLayoutVars>
      </dgm:prSet>
      <dgm:spPr/>
    </dgm:pt>
    <dgm:pt modelId="{B64CC261-BD97-4DFF-9209-B3228AAB22D4}" type="pres">
      <dgm:prSet presAssocID="{787C544D-3023-4F60-B53C-768C848DCD54}" presName="dummyMaxCanvas" presStyleCnt="0">
        <dgm:presLayoutVars/>
      </dgm:prSet>
      <dgm:spPr/>
    </dgm:pt>
    <dgm:pt modelId="{67D84562-8FA5-49BC-8F2E-C4E3ABC0F302}" type="pres">
      <dgm:prSet presAssocID="{787C544D-3023-4F60-B53C-768C848DCD54}" presName="OneNode_1" presStyleLbl="node1" presStyleIdx="0" presStyleCnt="1" custScaleY="200000">
        <dgm:presLayoutVars>
          <dgm:bulletEnabled val="1"/>
        </dgm:presLayoutVars>
      </dgm:prSet>
      <dgm:spPr/>
    </dgm:pt>
  </dgm:ptLst>
  <dgm:cxnLst>
    <dgm:cxn modelId="{CE416505-0FAC-4AAF-AC05-B853CC37A930}" type="presOf" srcId="{787C544D-3023-4F60-B53C-768C848DCD54}" destId="{DE71EF63-F0A2-4E1F-9EFF-6CF466F74FE1}" srcOrd="0" destOrd="0" presId="urn:microsoft.com/office/officeart/2005/8/layout/vProcess5"/>
    <dgm:cxn modelId="{CBB5A1BD-36F8-468B-A910-A548017FF346}" type="presOf" srcId="{7246902C-F380-4244-A491-559EECE887E9}" destId="{67D84562-8FA5-49BC-8F2E-C4E3ABC0F302}" srcOrd="0" destOrd="0" presId="urn:microsoft.com/office/officeart/2005/8/layout/vProcess5"/>
    <dgm:cxn modelId="{E06F28F0-0187-4070-8490-6E6A76C82FBA}" srcId="{787C544D-3023-4F60-B53C-768C848DCD54}" destId="{7246902C-F380-4244-A491-559EECE887E9}" srcOrd="0" destOrd="0" parTransId="{C2C3550A-F1DD-4C8C-85ED-D96508225E30}" sibTransId="{19CBF419-9E92-4D5F-A934-D88F01C9054D}"/>
    <dgm:cxn modelId="{9F5EF7D9-55FA-4E61-9B83-5BE7CAEA6159}" type="presParOf" srcId="{DE71EF63-F0A2-4E1F-9EFF-6CF466F74FE1}" destId="{B64CC261-BD97-4DFF-9209-B3228AAB22D4}" srcOrd="0" destOrd="0" presId="urn:microsoft.com/office/officeart/2005/8/layout/vProcess5"/>
    <dgm:cxn modelId="{2024F099-8755-43F5-86F0-0F2B1D2DD014}" type="presParOf" srcId="{DE71EF63-F0A2-4E1F-9EFF-6CF466F74FE1}" destId="{67D84562-8FA5-49BC-8F2E-C4E3ABC0F302}" srcOrd="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87C544D-3023-4F60-B53C-768C848DCD54}" type="doc">
      <dgm:prSet loTypeId="urn:microsoft.com/office/officeart/2005/8/layout/vProcess5" loCatId="process" qsTypeId="urn:microsoft.com/office/officeart/2005/8/quickstyle/simple2" qsCatId="simple" csTypeId="urn:microsoft.com/office/officeart/2005/8/colors/accent1_2" csCatId="accent1" phldr="1"/>
      <dgm:spPr/>
      <dgm:t>
        <a:bodyPr/>
        <a:lstStyle/>
        <a:p>
          <a:endParaRPr lang="fr-FR"/>
        </a:p>
      </dgm:t>
    </dgm:pt>
    <dgm:pt modelId="{7246902C-F380-4244-A491-559EECE887E9}">
      <dgm:prSet phldrT="[Texte]" custT="1"/>
      <dgm:spPr/>
      <dgm:t>
        <a:bodyPr/>
        <a:lstStyle/>
        <a:p>
          <a:r>
            <a:rPr lang="fr-FR" sz="2400" kern="1200" dirty="0">
              <a:latin typeface="Arial" panose="020B0604020202020204" pitchFamily="34" charset="0"/>
              <a:cs typeface="Arial" panose="020B0604020202020204" pitchFamily="34" charset="0"/>
            </a:rPr>
            <a:t>621 - Personnel extérieur à l'entreprise</a:t>
          </a:r>
        </a:p>
        <a:p>
          <a:r>
            <a:rPr lang="fr-FR" sz="2400" kern="1200" dirty="0">
              <a:latin typeface="Arial" panose="020B0604020202020204" pitchFamily="34" charset="0"/>
              <a:cs typeface="Arial" panose="020B0604020202020204" pitchFamily="34" charset="0"/>
            </a:rPr>
            <a:t>622 - Rémunérations d'intermédiaires et honoraires</a:t>
          </a:r>
        </a:p>
        <a:p>
          <a:r>
            <a:rPr lang="fr-FR" sz="2400" kern="1200" dirty="0">
              <a:latin typeface="Arial" panose="020B0604020202020204" pitchFamily="34" charset="0"/>
              <a:cs typeface="Arial" panose="020B0604020202020204" pitchFamily="34" charset="0"/>
            </a:rPr>
            <a:t>6221 - Commissions et courtages sur achats</a:t>
          </a:r>
        </a:p>
        <a:p>
          <a:r>
            <a:rPr lang="fr-FR" sz="2400" kern="1200" dirty="0">
              <a:latin typeface="Arial" panose="020B0604020202020204" pitchFamily="34" charset="0"/>
              <a:cs typeface="Arial" panose="020B0604020202020204" pitchFamily="34" charset="0"/>
            </a:rPr>
            <a:t>6222 6226 - Honoraires</a:t>
          </a:r>
        </a:p>
        <a:p>
          <a:r>
            <a:rPr lang="fr-FR" sz="2400" kern="1200" dirty="0">
              <a:latin typeface="Arial" panose="020B0604020202020204" pitchFamily="34" charset="0"/>
              <a:cs typeface="Arial" panose="020B0604020202020204" pitchFamily="34" charset="0"/>
            </a:rPr>
            <a:t>6227 - Frais d'actes et de contentieux</a:t>
          </a:r>
        </a:p>
        <a:p>
          <a:r>
            <a:rPr lang="fr-FR" sz="2400" kern="1200" dirty="0">
              <a:latin typeface="Arial" panose="020B0604020202020204" pitchFamily="34" charset="0"/>
              <a:cs typeface="Arial" panose="020B0604020202020204" pitchFamily="34" charset="0"/>
            </a:rPr>
            <a:t>6228 - Divers</a:t>
          </a:r>
        </a:p>
        <a:p>
          <a:pPr algn="ctr"/>
          <a:endParaRPr lang="fr-FR" sz="700" kern="1200" dirty="0">
            <a:latin typeface="Arial" panose="020B0604020202020204" pitchFamily="34" charset="0"/>
            <a:ea typeface="+mn-ea"/>
            <a:cs typeface="Arial" panose="020B0604020202020204" pitchFamily="34" charset="0"/>
          </a:endParaRP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DE71EF63-F0A2-4E1F-9EFF-6CF466F74FE1}" type="pres">
      <dgm:prSet presAssocID="{787C544D-3023-4F60-B53C-768C848DCD54}" presName="outerComposite" presStyleCnt="0">
        <dgm:presLayoutVars>
          <dgm:chMax val="5"/>
          <dgm:dir/>
          <dgm:resizeHandles val="exact"/>
        </dgm:presLayoutVars>
      </dgm:prSet>
      <dgm:spPr/>
    </dgm:pt>
    <dgm:pt modelId="{B64CC261-BD97-4DFF-9209-B3228AAB22D4}" type="pres">
      <dgm:prSet presAssocID="{787C544D-3023-4F60-B53C-768C848DCD54}" presName="dummyMaxCanvas" presStyleCnt="0">
        <dgm:presLayoutVars/>
      </dgm:prSet>
      <dgm:spPr/>
    </dgm:pt>
    <dgm:pt modelId="{67D84562-8FA5-49BC-8F2E-C4E3ABC0F302}" type="pres">
      <dgm:prSet presAssocID="{787C544D-3023-4F60-B53C-768C848DCD54}" presName="OneNode_1" presStyleLbl="node1" presStyleIdx="0" presStyleCnt="1" custScaleY="200000">
        <dgm:presLayoutVars>
          <dgm:bulletEnabled val="1"/>
        </dgm:presLayoutVars>
      </dgm:prSet>
      <dgm:spPr/>
    </dgm:pt>
  </dgm:ptLst>
  <dgm:cxnLst>
    <dgm:cxn modelId="{CE416505-0FAC-4AAF-AC05-B853CC37A930}" type="presOf" srcId="{787C544D-3023-4F60-B53C-768C848DCD54}" destId="{DE71EF63-F0A2-4E1F-9EFF-6CF466F74FE1}" srcOrd="0" destOrd="0" presId="urn:microsoft.com/office/officeart/2005/8/layout/vProcess5"/>
    <dgm:cxn modelId="{CBB5A1BD-36F8-468B-A910-A548017FF346}" type="presOf" srcId="{7246902C-F380-4244-A491-559EECE887E9}" destId="{67D84562-8FA5-49BC-8F2E-C4E3ABC0F302}" srcOrd="0" destOrd="0" presId="urn:microsoft.com/office/officeart/2005/8/layout/vProcess5"/>
    <dgm:cxn modelId="{E06F28F0-0187-4070-8490-6E6A76C82FBA}" srcId="{787C544D-3023-4F60-B53C-768C848DCD54}" destId="{7246902C-F380-4244-A491-559EECE887E9}" srcOrd="0" destOrd="0" parTransId="{C2C3550A-F1DD-4C8C-85ED-D96508225E30}" sibTransId="{19CBF419-9E92-4D5F-A934-D88F01C9054D}"/>
    <dgm:cxn modelId="{9F5EF7D9-55FA-4E61-9B83-5BE7CAEA6159}" type="presParOf" srcId="{DE71EF63-F0A2-4E1F-9EFF-6CF466F74FE1}" destId="{B64CC261-BD97-4DFF-9209-B3228AAB22D4}" srcOrd="0" destOrd="0" presId="urn:microsoft.com/office/officeart/2005/8/layout/vProcess5"/>
    <dgm:cxn modelId="{2024F099-8755-43F5-86F0-0F2B1D2DD014}" type="presParOf" srcId="{DE71EF63-F0A2-4E1F-9EFF-6CF466F74FE1}" destId="{67D84562-8FA5-49BC-8F2E-C4E3ABC0F302}" srcOrd="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87C544D-3023-4F60-B53C-768C848DCD54}" type="doc">
      <dgm:prSet loTypeId="urn:microsoft.com/office/officeart/2005/8/layout/vProcess5" loCatId="process" qsTypeId="urn:microsoft.com/office/officeart/2005/8/quickstyle/simple2" qsCatId="simple" csTypeId="urn:microsoft.com/office/officeart/2005/8/colors/accent1_2" csCatId="accent1" phldr="1"/>
      <dgm:spPr/>
      <dgm:t>
        <a:bodyPr/>
        <a:lstStyle/>
        <a:p>
          <a:endParaRPr lang="fr-FR"/>
        </a:p>
      </dgm:t>
    </dgm:pt>
    <dgm:pt modelId="{7246902C-F380-4244-A491-559EECE887E9}">
      <dgm:prSet phldrT="[Texte]" custT="1"/>
      <dgm:spPr/>
      <dgm:t>
        <a:bodyPr/>
        <a:lstStyle/>
        <a:p>
          <a:pPr algn="l"/>
          <a:r>
            <a:rPr lang="fr-FR" sz="1800" kern="1200" dirty="0">
              <a:latin typeface="Arial" panose="020B0604020202020204" pitchFamily="34" charset="0"/>
              <a:cs typeface="Arial" panose="020B0604020202020204" pitchFamily="34" charset="0"/>
            </a:rPr>
            <a:t>623 - Publicité, publications, relations publiques</a:t>
          </a:r>
        </a:p>
        <a:p>
          <a:pPr algn="l"/>
          <a:r>
            <a:rPr lang="fr-FR" sz="1800" kern="1200" dirty="0">
              <a:latin typeface="Arial" panose="020B0604020202020204" pitchFamily="34" charset="0"/>
              <a:cs typeface="Arial" panose="020B0604020202020204" pitchFamily="34" charset="0"/>
            </a:rPr>
            <a:t>6231 - Annonces et insertions</a:t>
          </a:r>
        </a:p>
        <a:p>
          <a:pPr algn="l"/>
          <a:r>
            <a:rPr lang="fr-FR" sz="1800" kern="1200" dirty="0">
              <a:latin typeface="Arial" panose="020B0604020202020204" pitchFamily="34" charset="0"/>
              <a:cs typeface="Arial" panose="020B0604020202020204" pitchFamily="34" charset="0"/>
            </a:rPr>
            <a:t>6238 - Divers (pourboires, dons courants, …)</a:t>
          </a:r>
        </a:p>
        <a:p>
          <a:pPr algn="l"/>
          <a:r>
            <a:rPr lang="fr-FR" sz="1800" kern="1200" dirty="0">
              <a:latin typeface="Arial" panose="020B0604020202020204" pitchFamily="34" charset="0"/>
              <a:cs typeface="Arial" panose="020B0604020202020204" pitchFamily="34" charset="0"/>
            </a:rPr>
            <a:t>624 - Transports de biens et transports collectifs du personnel</a:t>
          </a:r>
        </a:p>
        <a:p>
          <a:pPr algn="l"/>
          <a:r>
            <a:rPr lang="fr-FR" sz="1800" kern="1200" dirty="0">
              <a:latin typeface="Arial" panose="020B0604020202020204" pitchFamily="34" charset="0"/>
              <a:cs typeface="Arial" panose="020B0604020202020204" pitchFamily="34" charset="0"/>
            </a:rPr>
            <a:t>625 - Déplacements, missions et réceptions</a:t>
          </a:r>
        </a:p>
        <a:p>
          <a:pPr algn="l"/>
          <a:r>
            <a:rPr lang="fr-FR" sz="1800" kern="1200" dirty="0">
              <a:latin typeface="Arial" panose="020B0604020202020204" pitchFamily="34" charset="0"/>
              <a:cs typeface="Arial" panose="020B0604020202020204" pitchFamily="34" charset="0"/>
            </a:rPr>
            <a:t>6251 - Voyages et déplacements</a:t>
          </a:r>
        </a:p>
        <a:p>
          <a:pPr algn="l"/>
          <a:r>
            <a:rPr lang="fr-FR" sz="1800" kern="1200" dirty="0">
              <a:latin typeface="Arial" panose="020B0604020202020204" pitchFamily="34" charset="0"/>
              <a:cs typeface="Arial" panose="020B0604020202020204" pitchFamily="34" charset="0"/>
            </a:rPr>
            <a:t>6255 - Frais de déménagement</a:t>
          </a:r>
        </a:p>
        <a:p>
          <a:pPr algn="l"/>
          <a:r>
            <a:rPr lang="fr-FR" sz="1800" kern="1200" dirty="0">
              <a:latin typeface="Arial" panose="020B0604020202020204" pitchFamily="34" charset="0"/>
              <a:cs typeface="Arial" panose="020B0604020202020204" pitchFamily="34" charset="0"/>
            </a:rPr>
            <a:t>6256 - Missions</a:t>
          </a:r>
        </a:p>
        <a:p>
          <a:pPr algn="l"/>
          <a:r>
            <a:rPr lang="fr-FR" sz="1800" kern="1200" dirty="0">
              <a:latin typeface="Arial" panose="020B0604020202020204" pitchFamily="34" charset="0"/>
              <a:cs typeface="Arial" panose="020B0604020202020204" pitchFamily="34" charset="0"/>
            </a:rPr>
            <a:t>6257 – Réceptions</a:t>
          </a:r>
        </a:p>
        <a:p>
          <a:pPr algn="l"/>
          <a:r>
            <a:rPr lang="fr-FR" sz="1800" kern="1200" dirty="0">
              <a:latin typeface="Arial" panose="020B0604020202020204" pitchFamily="34" charset="0"/>
              <a:ea typeface="+mn-ea"/>
              <a:cs typeface="Arial" panose="020B0604020202020204" pitchFamily="34" charset="0"/>
            </a:rPr>
            <a:t>627 – </a:t>
          </a:r>
          <a:r>
            <a:rPr lang="fr-FR" sz="1800" kern="1200">
              <a:latin typeface="Arial" panose="020B0604020202020204" pitchFamily="34" charset="0"/>
              <a:ea typeface="+mn-ea"/>
              <a:cs typeface="Arial" panose="020B0604020202020204" pitchFamily="34" charset="0"/>
            </a:rPr>
            <a:t>Frais bancaires</a:t>
          </a:r>
          <a:endParaRPr lang="fr-FR" sz="700" kern="1200" dirty="0">
            <a:latin typeface="Arial" panose="020B0604020202020204" pitchFamily="34" charset="0"/>
            <a:ea typeface="+mn-ea"/>
            <a:cs typeface="Arial" panose="020B0604020202020204" pitchFamily="34" charset="0"/>
          </a:endParaRP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DE71EF63-F0A2-4E1F-9EFF-6CF466F74FE1}" type="pres">
      <dgm:prSet presAssocID="{787C544D-3023-4F60-B53C-768C848DCD54}" presName="outerComposite" presStyleCnt="0">
        <dgm:presLayoutVars>
          <dgm:chMax val="5"/>
          <dgm:dir/>
          <dgm:resizeHandles val="exact"/>
        </dgm:presLayoutVars>
      </dgm:prSet>
      <dgm:spPr/>
    </dgm:pt>
    <dgm:pt modelId="{B64CC261-BD97-4DFF-9209-B3228AAB22D4}" type="pres">
      <dgm:prSet presAssocID="{787C544D-3023-4F60-B53C-768C848DCD54}" presName="dummyMaxCanvas" presStyleCnt="0">
        <dgm:presLayoutVars/>
      </dgm:prSet>
      <dgm:spPr/>
    </dgm:pt>
    <dgm:pt modelId="{67D84562-8FA5-49BC-8F2E-C4E3ABC0F302}" type="pres">
      <dgm:prSet presAssocID="{787C544D-3023-4F60-B53C-768C848DCD54}" presName="OneNode_1" presStyleLbl="node1" presStyleIdx="0" presStyleCnt="1" custScaleY="200000" custLinFactNeighborX="1170" custLinFactNeighborY="-20362">
        <dgm:presLayoutVars>
          <dgm:bulletEnabled val="1"/>
        </dgm:presLayoutVars>
      </dgm:prSet>
      <dgm:spPr/>
    </dgm:pt>
  </dgm:ptLst>
  <dgm:cxnLst>
    <dgm:cxn modelId="{CE416505-0FAC-4AAF-AC05-B853CC37A930}" type="presOf" srcId="{787C544D-3023-4F60-B53C-768C848DCD54}" destId="{DE71EF63-F0A2-4E1F-9EFF-6CF466F74FE1}" srcOrd="0" destOrd="0" presId="urn:microsoft.com/office/officeart/2005/8/layout/vProcess5"/>
    <dgm:cxn modelId="{CBB5A1BD-36F8-468B-A910-A548017FF346}" type="presOf" srcId="{7246902C-F380-4244-A491-559EECE887E9}" destId="{67D84562-8FA5-49BC-8F2E-C4E3ABC0F302}" srcOrd="0" destOrd="0" presId="urn:microsoft.com/office/officeart/2005/8/layout/vProcess5"/>
    <dgm:cxn modelId="{E06F28F0-0187-4070-8490-6E6A76C82FBA}" srcId="{787C544D-3023-4F60-B53C-768C848DCD54}" destId="{7246902C-F380-4244-A491-559EECE887E9}" srcOrd="0" destOrd="0" parTransId="{C2C3550A-F1DD-4C8C-85ED-D96508225E30}" sibTransId="{19CBF419-9E92-4D5F-A934-D88F01C9054D}"/>
    <dgm:cxn modelId="{9F5EF7D9-55FA-4E61-9B83-5BE7CAEA6159}" type="presParOf" srcId="{DE71EF63-F0A2-4E1F-9EFF-6CF466F74FE1}" destId="{B64CC261-BD97-4DFF-9209-B3228AAB22D4}" srcOrd="0" destOrd="0" presId="urn:microsoft.com/office/officeart/2005/8/layout/vProcess5"/>
    <dgm:cxn modelId="{2024F099-8755-43F5-86F0-0F2B1D2DD014}" type="presParOf" srcId="{DE71EF63-F0A2-4E1F-9EFF-6CF466F74FE1}" destId="{67D84562-8FA5-49BC-8F2E-C4E3ABC0F302}" srcOrd="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787C544D-3023-4F60-B53C-768C848DCD54}" type="doc">
      <dgm:prSet loTypeId="urn:microsoft.com/office/officeart/2005/8/layout/vProcess5" loCatId="process" qsTypeId="urn:microsoft.com/office/officeart/2005/8/quickstyle/simple2" qsCatId="simple" csTypeId="urn:microsoft.com/office/officeart/2005/8/colors/accent1_2" csCatId="accent1" phldr="1"/>
      <dgm:spPr/>
      <dgm:t>
        <a:bodyPr/>
        <a:lstStyle/>
        <a:p>
          <a:endParaRPr lang="fr-FR"/>
        </a:p>
      </dgm:t>
    </dgm:pt>
    <dgm:pt modelId="{7246902C-F380-4244-A491-559EECE887E9}">
      <dgm:prSet phldrT="[Texte]" custT="1"/>
      <dgm:spPr/>
      <dgm:t>
        <a:bodyPr/>
        <a:lstStyle/>
        <a:p>
          <a:pPr algn="l"/>
          <a:r>
            <a:rPr lang="fr-FR" sz="1800" kern="1200" dirty="0">
              <a:latin typeface="Arial" panose="020B0604020202020204" pitchFamily="34" charset="0"/>
              <a:cs typeface="Arial" panose="020B0604020202020204" pitchFamily="34" charset="0"/>
            </a:rPr>
            <a:t>63 – Impôts, taxes et versements assimilés</a:t>
          </a:r>
        </a:p>
        <a:p>
          <a:r>
            <a:rPr lang="fr-FR" sz="1800" kern="1200" dirty="0">
              <a:latin typeface="Arial" panose="020B0604020202020204" pitchFamily="34" charset="0"/>
              <a:cs typeface="Arial" panose="020B0604020202020204" pitchFamily="34" charset="0"/>
            </a:rPr>
            <a:t>6311 - Taxe sur les salaires</a:t>
          </a:r>
        </a:p>
        <a:p>
          <a:r>
            <a:rPr lang="fr-FR" sz="1800" kern="1200" dirty="0">
              <a:latin typeface="Arial" panose="020B0604020202020204" pitchFamily="34" charset="0"/>
              <a:cs typeface="Arial" panose="020B0604020202020204" pitchFamily="34" charset="0"/>
            </a:rPr>
            <a:t>6312 - Taxe d'apprentissage</a:t>
          </a:r>
        </a:p>
        <a:p>
          <a:r>
            <a:rPr lang="fr-FR" sz="1800" kern="1200" dirty="0">
              <a:latin typeface="Arial" panose="020B0604020202020204" pitchFamily="34" charset="0"/>
              <a:cs typeface="Arial" panose="020B0604020202020204" pitchFamily="34" charset="0"/>
            </a:rPr>
            <a:t>6313 - Participation des employeurs à la formation professionnelle continue</a:t>
          </a:r>
        </a:p>
        <a:p>
          <a:r>
            <a:rPr lang="fr-FR" sz="1800" kern="1200" dirty="0">
              <a:latin typeface="Arial" panose="020B0604020202020204" pitchFamily="34" charset="0"/>
              <a:cs typeface="Arial" panose="020B0604020202020204" pitchFamily="34" charset="0"/>
            </a:rPr>
            <a:t>63511 - Contribution économique territoriale</a:t>
          </a:r>
        </a:p>
        <a:p>
          <a:r>
            <a:rPr lang="fr-FR" sz="1800" kern="1200" dirty="0">
              <a:latin typeface="Arial" panose="020B0604020202020204" pitchFamily="34" charset="0"/>
              <a:cs typeface="Arial" panose="020B0604020202020204" pitchFamily="34" charset="0"/>
            </a:rPr>
            <a:t>63512 - Taxes foncières</a:t>
          </a:r>
        </a:p>
        <a:p>
          <a:r>
            <a:rPr lang="fr-FR" sz="1800" kern="1200" dirty="0">
              <a:latin typeface="Arial" panose="020B0604020202020204" pitchFamily="34" charset="0"/>
              <a:cs typeface="Arial" panose="020B0604020202020204" pitchFamily="34" charset="0"/>
            </a:rPr>
            <a:t>63514 - Taxe sur les véhicules des sociétés</a:t>
          </a:r>
        </a:p>
        <a:p>
          <a:r>
            <a:rPr lang="fr-FR" sz="1800" kern="1200" dirty="0">
              <a:latin typeface="Arial" panose="020B0604020202020204" pitchFamily="34" charset="0"/>
              <a:cs typeface="Arial" panose="020B0604020202020204" pitchFamily="34" charset="0"/>
            </a:rPr>
            <a:t>6353 - Impôts indirects</a:t>
          </a:r>
        </a:p>
        <a:p>
          <a:r>
            <a:rPr lang="fr-FR" sz="1800" kern="1200" dirty="0">
              <a:latin typeface="Arial" panose="020B0604020202020204" pitchFamily="34" charset="0"/>
              <a:cs typeface="Arial" panose="020B0604020202020204" pitchFamily="34" charset="0"/>
            </a:rPr>
            <a:t>6354 - Droits d'enregistrement et de timbre</a:t>
          </a:r>
        </a:p>
        <a:p>
          <a:r>
            <a:rPr lang="fr-FR" sz="1800" kern="1200" dirty="0">
              <a:latin typeface="Arial" panose="020B0604020202020204" pitchFamily="34" charset="0"/>
              <a:cs typeface="Arial" panose="020B0604020202020204" pitchFamily="34" charset="0"/>
            </a:rPr>
            <a:t>63541 - Droits de mutation</a:t>
          </a:r>
        </a:p>
        <a:p>
          <a:r>
            <a:rPr lang="fr-FR" sz="1800" kern="1200" dirty="0">
              <a:latin typeface="Arial" panose="020B0604020202020204" pitchFamily="34" charset="0"/>
              <a:cs typeface="Arial" panose="020B0604020202020204" pitchFamily="34" charset="0"/>
            </a:rPr>
            <a:t>6358 - Autres droits</a:t>
          </a:r>
        </a:p>
        <a:p>
          <a:endParaRPr lang="fr-FR" sz="700" kern="1200" dirty="0">
            <a:latin typeface="Arial" panose="020B0604020202020204" pitchFamily="34" charset="0"/>
            <a:ea typeface="+mn-ea"/>
            <a:cs typeface="Arial" panose="020B0604020202020204" pitchFamily="34" charset="0"/>
          </a:endParaRP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DE71EF63-F0A2-4E1F-9EFF-6CF466F74FE1}" type="pres">
      <dgm:prSet presAssocID="{787C544D-3023-4F60-B53C-768C848DCD54}" presName="outerComposite" presStyleCnt="0">
        <dgm:presLayoutVars>
          <dgm:chMax val="5"/>
          <dgm:dir/>
          <dgm:resizeHandles val="exact"/>
        </dgm:presLayoutVars>
      </dgm:prSet>
      <dgm:spPr/>
    </dgm:pt>
    <dgm:pt modelId="{B64CC261-BD97-4DFF-9209-B3228AAB22D4}" type="pres">
      <dgm:prSet presAssocID="{787C544D-3023-4F60-B53C-768C848DCD54}" presName="dummyMaxCanvas" presStyleCnt="0">
        <dgm:presLayoutVars/>
      </dgm:prSet>
      <dgm:spPr/>
    </dgm:pt>
    <dgm:pt modelId="{67D84562-8FA5-49BC-8F2E-C4E3ABC0F302}" type="pres">
      <dgm:prSet presAssocID="{787C544D-3023-4F60-B53C-768C848DCD54}" presName="OneNode_1" presStyleLbl="node1" presStyleIdx="0" presStyleCnt="1" custScaleY="200000" custLinFactNeighborX="1170" custLinFactNeighborY="-20362">
        <dgm:presLayoutVars>
          <dgm:bulletEnabled val="1"/>
        </dgm:presLayoutVars>
      </dgm:prSet>
      <dgm:spPr/>
    </dgm:pt>
  </dgm:ptLst>
  <dgm:cxnLst>
    <dgm:cxn modelId="{CE416505-0FAC-4AAF-AC05-B853CC37A930}" type="presOf" srcId="{787C544D-3023-4F60-B53C-768C848DCD54}" destId="{DE71EF63-F0A2-4E1F-9EFF-6CF466F74FE1}" srcOrd="0" destOrd="0" presId="urn:microsoft.com/office/officeart/2005/8/layout/vProcess5"/>
    <dgm:cxn modelId="{CBB5A1BD-36F8-468B-A910-A548017FF346}" type="presOf" srcId="{7246902C-F380-4244-A491-559EECE887E9}" destId="{67D84562-8FA5-49BC-8F2E-C4E3ABC0F302}" srcOrd="0" destOrd="0" presId="urn:microsoft.com/office/officeart/2005/8/layout/vProcess5"/>
    <dgm:cxn modelId="{E06F28F0-0187-4070-8490-6E6A76C82FBA}" srcId="{787C544D-3023-4F60-B53C-768C848DCD54}" destId="{7246902C-F380-4244-A491-559EECE887E9}" srcOrd="0" destOrd="0" parTransId="{C2C3550A-F1DD-4C8C-85ED-D96508225E30}" sibTransId="{19CBF419-9E92-4D5F-A934-D88F01C9054D}"/>
    <dgm:cxn modelId="{9F5EF7D9-55FA-4E61-9B83-5BE7CAEA6159}" type="presParOf" srcId="{DE71EF63-F0A2-4E1F-9EFF-6CF466F74FE1}" destId="{B64CC261-BD97-4DFF-9209-B3228AAB22D4}" srcOrd="0" destOrd="0" presId="urn:microsoft.com/office/officeart/2005/8/layout/vProcess5"/>
    <dgm:cxn modelId="{2024F099-8755-43F5-86F0-0F2B1D2DD014}" type="presParOf" srcId="{DE71EF63-F0A2-4E1F-9EFF-6CF466F74FE1}" destId="{67D84562-8FA5-49BC-8F2E-C4E3ABC0F302}" srcOrd="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87C544D-3023-4F60-B53C-768C848DCD54}" type="doc">
      <dgm:prSet loTypeId="urn:microsoft.com/office/officeart/2005/8/layout/vProcess5" loCatId="process" qsTypeId="urn:microsoft.com/office/officeart/2005/8/quickstyle/simple2" qsCatId="simple" csTypeId="urn:microsoft.com/office/officeart/2005/8/colors/accent1_2" csCatId="accent1" phldr="1"/>
      <dgm:spPr/>
      <dgm:t>
        <a:bodyPr/>
        <a:lstStyle/>
        <a:p>
          <a:endParaRPr lang="fr-FR"/>
        </a:p>
      </dgm:t>
    </dgm:pt>
    <dgm:pt modelId="{7246902C-F380-4244-A491-559EECE887E9}">
      <dgm:prSet phldrT="[Texte]" custT="1"/>
      <dgm:spPr/>
      <dgm:t>
        <a:bodyPr/>
        <a:lstStyle/>
        <a:p>
          <a:endParaRPr lang="fr-FR" sz="1800" kern="1200" dirty="0">
            <a:latin typeface="Arial" panose="020B0604020202020204" pitchFamily="34" charset="0"/>
            <a:cs typeface="Arial" panose="020B0604020202020204" pitchFamily="34" charset="0"/>
          </a:endParaRPr>
        </a:p>
        <a:p>
          <a:r>
            <a:rPr lang="fr-FR" sz="1800" kern="1200" dirty="0">
              <a:latin typeface="Arial" panose="020B0604020202020204" pitchFamily="34" charset="0"/>
              <a:cs typeface="Arial" panose="020B0604020202020204" pitchFamily="34" charset="0"/>
            </a:rPr>
            <a:t>641 - Rémunérations du personnel</a:t>
          </a:r>
        </a:p>
        <a:p>
          <a:r>
            <a:rPr lang="fr-FR" sz="1800" kern="1200" dirty="0">
              <a:latin typeface="Arial" panose="020B0604020202020204" pitchFamily="34" charset="0"/>
              <a:cs typeface="Arial" panose="020B0604020202020204" pitchFamily="34" charset="0"/>
            </a:rPr>
            <a:t>6412 - Congés payés</a:t>
          </a:r>
        </a:p>
        <a:p>
          <a:r>
            <a:rPr lang="fr-FR" sz="1800" kern="1200" dirty="0">
              <a:latin typeface="Arial" panose="020B0604020202020204" pitchFamily="34" charset="0"/>
              <a:cs typeface="Arial" panose="020B0604020202020204" pitchFamily="34" charset="0"/>
            </a:rPr>
            <a:t>6413 - Primes et gratifications</a:t>
          </a:r>
        </a:p>
        <a:p>
          <a:r>
            <a:rPr lang="fr-FR" sz="1800" kern="1200" dirty="0">
              <a:latin typeface="Arial" panose="020B0604020202020204" pitchFamily="34" charset="0"/>
              <a:cs typeface="Arial" panose="020B0604020202020204" pitchFamily="34" charset="0"/>
            </a:rPr>
            <a:t>6414 - Indemnités et avantages divers</a:t>
          </a:r>
        </a:p>
        <a:p>
          <a:r>
            <a:rPr lang="fr-FR" sz="1800" kern="1200" dirty="0">
              <a:latin typeface="Arial" panose="020B0604020202020204" pitchFamily="34" charset="0"/>
              <a:cs typeface="Arial" panose="020B0604020202020204" pitchFamily="34" charset="0"/>
            </a:rPr>
            <a:t>644 - Rémunération du travail de l'exploitant</a:t>
          </a:r>
        </a:p>
        <a:p>
          <a:r>
            <a:rPr lang="fr-FR" sz="1800" kern="1200" dirty="0">
              <a:latin typeface="Arial" panose="020B0604020202020204" pitchFamily="34" charset="0"/>
              <a:cs typeface="Arial" panose="020B0604020202020204" pitchFamily="34" charset="0"/>
            </a:rPr>
            <a:t>645 - Charges de sécurité sociale et de prévoyance</a:t>
          </a:r>
        </a:p>
        <a:p>
          <a:r>
            <a:rPr lang="fr-FR" sz="1800" kern="1200" dirty="0">
              <a:latin typeface="Arial" panose="020B0604020202020204" pitchFamily="34" charset="0"/>
              <a:cs typeface="Arial" panose="020B0604020202020204" pitchFamily="34" charset="0"/>
            </a:rPr>
            <a:t>6451 - Cotisations à l'URSSAF</a:t>
          </a:r>
        </a:p>
        <a:p>
          <a:r>
            <a:rPr lang="fr-FR" sz="1800" kern="1200" dirty="0">
              <a:latin typeface="Arial" panose="020B0604020202020204" pitchFamily="34" charset="0"/>
              <a:cs typeface="Arial" panose="020B0604020202020204" pitchFamily="34" charset="0"/>
            </a:rPr>
            <a:t>6452 - Cotisations aux mutuelles</a:t>
          </a:r>
        </a:p>
        <a:p>
          <a:r>
            <a:rPr lang="fr-FR" sz="1800" kern="1200" dirty="0">
              <a:latin typeface="Arial" panose="020B0604020202020204" pitchFamily="34" charset="0"/>
              <a:cs typeface="Arial" panose="020B0604020202020204" pitchFamily="34" charset="0"/>
            </a:rPr>
            <a:t>6453 - Cotisations aux caisses de retraite</a:t>
          </a:r>
        </a:p>
        <a:p>
          <a:r>
            <a:rPr lang="fr-FR" sz="1800" kern="1200" dirty="0">
              <a:latin typeface="Arial" panose="020B0604020202020204" pitchFamily="34" charset="0"/>
              <a:cs typeface="Arial" panose="020B0604020202020204" pitchFamily="34" charset="0"/>
            </a:rPr>
            <a:t>6458 - Cotisations aux autres organismes sociaux</a:t>
          </a:r>
        </a:p>
        <a:p>
          <a:r>
            <a:rPr lang="fr-FR" sz="1800" kern="1200" dirty="0">
              <a:latin typeface="Arial" panose="020B0604020202020204" pitchFamily="34" charset="0"/>
              <a:cs typeface="Arial" panose="020B0604020202020204" pitchFamily="34" charset="0"/>
            </a:rPr>
            <a:t>646 - Cotisations sociales personnelles de l'exploitant</a:t>
          </a:r>
        </a:p>
        <a:p>
          <a:r>
            <a:rPr lang="fr-FR" sz="1800" kern="1200" dirty="0">
              <a:latin typeface="Arial" panose="020B0604020202020204" pitchFamily="34" charset="0"/>
              <a:cs typeface="Arial" panose="020B0604020202020204" pitchFamily="34" charset="0"/>
            </a:rPr>
            <a:t>647 - Autres charges sociales</a:t>
          </a: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DE71EF63-F0A2-4E1F-9EFF-6CF466F74FE1}" type="pres">
      <dgm:prSet presAssocID="{787C544D-3023-4F60-B53C-768C848DCD54}" presName="outerComposite" presStyleCnt="0">
        <dgm:presLayoutVars>
          <dgm:chMax val="5"/>
          <dgm:dir/>
          <dgm:resizeHandles val="exact"/>
        </dgm:presLayoutVars>
      </dgm:prSet>
      <dgm:spPr/>
    </dgm:pt>
    <dgm:pt modelId="{B64CC261-BD97-4DFF-9209-B3228AAB22D4}" type="pres">
      <dgm:prSet presAssocID="{787C544D-3023-4F60-B53C-768C848DCD54}" presName="dummyMaxCanvas" presStyleCnt="0">
        <dgm:presLayoutVars/>
      </dgm:prSet>
      <dgm:spPr/>
    </dgm:pt>
    <dgm:pt modelId="{67D84562-8FA5-49BC-8F2E-C4E3ABC0F302}" type="pres">
      <dgm:prSet presAssocID="{787C544D-3023-4F60-B53C-768C848DCD54}" presName="OneNode_1" presStyleLbl="node1" presStyleIdx="0" presStyleCnt="1" custScaleY="200000" custLinFactNeighborX="1170" custLinFactNeighborY="-20362">
        <dgm:presLayoutVars>
          <dgm:bulletEnabled val="1"/>
        </dgm:presLayoutVars>
      </dgm:prSet>
      <dgm:spPr/>
    </dgm:pt>
  </dgm:ptLst>
  <dgm:cxnLst>
    <dgm:cxn modelId="{CE416505-0FAC-4AAF-AC05-B853CC37A930}" type="presOf" srcId="{787C544D-3023-4F60-B53C-768C848DCD54}" destId="{DE71EF63-F0A2-4E1F-9EFF-6CF466F74FE1}" srcOrd="0" destOrd="0" presId="urn:microsoft.com/office/officeart/2005/8/layout/vProcess5"/>
    <dgm:cxn modelId="{CBB5A1BD-36F8-468B-A910-A548017FF346}" type="presOf" srcId="{7246902C-F380-4244-A491-559EECE887E9}" destId="{67D84562-8FA5-49BC-8F2E-C4E3ABC0F302}" srcOrd="0" destOrd="0" presId="urn:microsoft.com/office/officeart/2005/8/layout/vProcess5"/>
    <dgm:cxn modelId="{E06F28F0-0187-4070-8490-6E6A76C82FBA}" srcId="{787C544D-3023-4F60-B53C-768C848DCD54}" destId="{7246902C-F380-4244-A491-559EECE887E9}" srcOrd="0" destOrd="0" parTransId="{C2C3550A-F1DD-4C8C-85ED-D96508225E30}" sibTransId="{19CBF419-9E92-4D5F-A934-D88F01C9054D}"/>
    <dgm:cxn modelId="{9F5EF7D9-55FA-4E61-9B83-5BE7CAEA6159}" type="presParOf" srcId="{DE71EF63-F0A2-4E1F-9EFF-6CF466F74FE1}" destId="{B64CC261-BD97-4DFF-9209-B3228AAB22D4}" srcOrd="0" destOrd="0" presId="urn:microsoft.com/office/officeart/2005/8/layout/vProcess5"/>
    <dgm:cxn modelId="{2024F099-8755-43F5-86F0-0F2B1D2DD014}" type="presParOf" srcId="{DE71EF63-F0A2-4E1F-9EFF-6CF466F74FE1}" destId="{67D84562-8FA5-49BC-8F2E-C4E3ABC0F302}" srcOrd="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EA21EB-82FF-4639-B59C-B9FB0E39994C}" type="doc">
      <dgm:prSet loTypeId="urn:microsoft.com/office/officeart/2005/8/layout/cycle1" loCatId="cycle" qsTypeId="urn:microsoft.com/office/officeart/2005/8/quickstyle/simple1" qsCatId="simple" csTypeId="urn:microsoft.com/office/officeart/2005/8/colors/colorful1" csCatId="colorful"/>
      <dgm:spPr/>
      <dgm:t>
        <a:bodyPr/>
        <a:lstStyle/>
        <a:p>
          <a:endParaRPr lang="en-US"/>
        </a:p>
      </dgm:t>
    </dgm:pt>
    <dgm:pt modelId="{2D2EA2CE-1391-4F93-99FB-78CBB1042C33}">
      <dgm:prSet/>
      <dgm:spPr/>
      <dgm:t>
        <a:bodyPr/>
        <a:lstStyle/>
        <a:p>
          <a:r>
            <a:rPr lang="fr-FR"/>
            <a:t>Légal + contractuel</a:t>
          </a:r>
          <a:endParaRPr lang="en-US"/>
        </a:p>
      </dgm:t>
    </dgm:pt>
    <dgm:pt modelId="{FCFA2409-1E92-4BEC-B457-A9C6E03AE21E}" type="parTrans" cxnId="{48692415-AEB8-4417-9D43-2FFD0A7522E4}">
      <dgm:prSet/>
      <dgm:spPr/>
      <dgm:t>
        <a:bodyPr/>
        <a:lstStyle/>
        <a:p>
          <a:endParaRPr lang="en-US"/>
        </a:p>
      </dgm:t>
    </dgm:pt>
    <dgm:pt modelId="{8657D0CD-8872-439D-8A58-25C5CE5E42A4}" type="sibTrans" cxnId="{48692415-AEB8-4417-9D43-2FFD0A7522E4}">
      <dgm:prSet/>
      <dgm:spPr/>
      <dgm:t>
        <a:bodyPr/>
        <a:lstStyle/>
        <a:p>
          <a:endParaRPr lang="en-US"/>
        </a:p>
      </dgm:t>
    </dgm:pt>
    <dgm:pt modelId="{3485CF20-00A8-435E-9153-46308565173E}">
      <dgm:prSet/>
      <dgm:spPr/>
      <dgm:t>
        <a:bodyPr/>
        <a:lstStyle/>
        <a:p>
          <a:r>
            <a:rPr lang="fr-FR"/>
            <a:t>Contractuel + légal</a:t>
          </a:r>
          <a:endParaRPr lang="en-US"/>
        </a:p>
      </dgm:t>
    </dgm:pt>
    <dgm:pt modelId="{EADED6B6-9FC7-4B71-B6D5-CC2B0D0D5648}" type="parTrans" cxnId="{6A629D5E-885F-4C23-8336-26C90A9EE8C2}">
      <dgm:prSet/>
      <dgm:spPr/>
      <dgm:t>
        <a:bodyPr/>
        <a:lstStyle/>
        <a:p>
          <a:endParaRPr lang="en-US"/>
        </a:p>
      </dgm:t>
    </dgm:pt>
    <dgm:pt modelId="{5762F17D-E759-4F41-94CE-3F118B27167B}" type="sibTrans" cxnId="{6A629D5E-885F-4C23-8336-26C90A9EE8C2}">
      <dgm:prSet/>
      <dgm:spPr/>
      <dgm:t>
        <a:bodyPr/>
        <a:lstStyle/>
        <a:p>
          <a:endParaRPr lang="en-US"/>
        </a:p>
      </dgm:t>
    </dgm:pt>
    <dgm:pt modelId="{5F05DDD8-7375-4099-973B-5A475D8EE6B0}" type="pres">
      <dgm:prSet presAssocID="{DEEA21EB-82FF-4639-B59C-B9FB0E39994C}" presName="cycle" presStyleCnt="0">
        <dgm:presLayoutVars>
          <dgm:dir/>
          <dgm:resizeHandles val="exact"/>
        </dgm:presLayoutVars>
      </dgm:prSet>
      <dgm:spPr/>
    </dgm:pt>
    <dgm:pt modelId="{1E7C158F-2903-49F7-90EF-E59E63D52B34}" type="pres">
      <dgm:prSet presAssocID="{2D2EA2CE-1391-4F93-99FB-78CBB1042C33}" presName="dummy" presStyleCnt="0"/>
      <dgm:spPr/>
    </dgm:pt>
    <dgm:pt modelId="{5A726FE4-3298-4807-8246-4585174CA5BF}" type="pres">
      <dgm:prSet presAssocID="{2D2EA2CE-1391-4F93-99FB-78CBB1042C33}" presName="node" presStyleLbl="revTx" presStyleIdx="0" presStyleCnt="2">
        <dgm:presLayoutVars>
          <dgm:bulletEnabled val="1"/>
        </dgm:presLayoutVars>
      </dgm:prSet>
      <dgm:spPr/>
    </dgm:pt>
    <dgm:pt modelId="{10E7AFC6-07FD-4FD2-8102-652F5A31F64E}" type="pres">
      <dgm:prSet presAssocID="{8657D0CD-8872-439D-8A58-25C5CE5E42A4}" presName="sibTrans" presStyleLbl="node1" presStyleIdx="0" presStyleCnt="2"/>
      <dgm:spPr/>
    </dgm:pt>
    <dgm:pt modelId="{E3B1D952-059C-45DE-AF54-E6F58DCEF608}" type="pres">
      <dgm:prSet presAssocID="{3485CF20-00A8-435E-9153-46308565173E}" presName="dummy" presStyleCnt="0"/>
      <dgm:spPr/>
    </dgm:pt>
    <dgm:pt modelId="{24977D91-832F-49E8-80EE-DFB805796DF0}" type="pres">
      <dgm:prSet presAssocID="{3485CF20-00A8-435E-9153-46308565173E}" presName="node" presStyleLbl="revTx" presStyleIdx="1" presStyleCnt="2">
        <dgm:presLayoutVars>
          <dgm:bulletEnabled val="1"/>
        </dgm:presLayoutVars>
      </dgm:prSet>
      <dgm:spPr/>
    </dgm:pt>
    <dgm:pt modelId="{05CD7C18-42D2-429F-AB17-054AF06BA342}" type="pres">
      <dgm:prSet presAssocID="{5762F17D-E759-4F41-94CE-3F118B27167B}" presName="sibTrans" presStyleLbl="node1" presStyleIdx="1" presStyleCnt="2"/>
      <dgm:spPr/>
    </dgm:pt>
  </dgm:ptLst>
  <dgm:cxnLst>
    <dgm:cxn modelId="{48692415-AEB8-4417-9D43-2FFD0A7522E4}" srcId="{DEEA21EB-82FF-4639-B59C-B9FB0E39994C}" destId="{2D2EA2CE-1391-4F93-99FB-78CBB1042C33}" srcOrd="0" destOrd="0" parTransId="{FCFA2409-1E92-4BEC-B457-A9C6E03AE21E}" sibTransId="{8657D0CD-8872-439D-8A58-25C5CE5E42A4}"/>
    <dgm:cxn modelId="{318C4331-CD17-401B-8BA2-40D046744796}" type="presOf" srcId="{DEEA21EB-82FF-4639-B59C-B9FB0E39994C}" destId="{5F05DDD8-7375-4099-973B-5A475D8EE6B0}" srcOrd="0" destOrd="0" presId="urn:microsoft.com/office/officeart/2005/8/layout/cycle1"/>
    <dgm:cxn modelId="{763C4332-4740-483C-86D7-A40A2A2F203E}" type="presOf" srcId="{2D2EA2CE-1391-4F93-99FB-78CBB1042C33}" destId="{5A726FE4-3298-4807-8246-4585174CA5BF}" srcOrd="0" destOrd="0" presId="urn:microsoft.com/office/officeart/2005/8/layout/cycle1"/>
    <dgm:cxn modelId="{6A629D5E-885F-4C23-8336-26C90A9EE8C2}" srcId="{DEEA21EB-82FF-4639-B59C-B9FB0E39994C}" destId="{3485CF20-00A8-435E-9153-46308565173E}" srcOrd="1" destOrd="0" parTransId="{EADED6B6-9FC7-4B71-B6D5-CC2B0D0D5648}" sibTransId="{5762F17D-E759-4F41-94CE-3F118B27167B}"/>
    <dgm:cxn modelId="{FC667B95-D538-4936-A6A9-91E1C0916A28}" type="presOf" srcId="{3485CF20-00A8-435E-9153-46308565173E}" destId="{24977D91-832F-49E8-80EE-DFB805796DF0}" srcOrd="0" destOrd="0" presId="urn:microsoft.com/office/officeart/2005/8/layout/cycle1"/>
    <dgm:cxn modelId="{C0A0ED9C-83AB-49CE-B102-037067D0453D}" type="presOf" srcId="{8657D0CD-8872-439D-8A58-25C5CE5E42A4}" destId="{10E7AFC6-07FD-4FD2-8102-652F5A31F64E}" srcOrd="0" destOrd="0" presId="urn:microsoft.com/office/officeart/2005/8/layout/cycle1"/>
    <dgm:cxn modelId="{6E5B0DFD-B53E-4C4C-B7FA-EBDFCC9424B7}" type="presOf" srcId="{5762F17D-E759-4F41-94CE-3F118B27167B}" destId="{05CD7C18-42D2-429F-AB17-054AF06BA342}" srcOrd="0" destOrd="0" presId="urn:microsoft.com/office/officeart/2005/8/layout/cycle1"/>
    <dgm:cxn modelId="{1E36BE28-7D08-4EA9-A631-51573D6B3D0E}" type="presParOf" srcId="{5F05DDD8-7375-4099-973B-5A475D8EE6B0}" destId="{1E7C158F-2903-49F7-90EF-E59E63D52B34}" srcOrd="0" destOrd="0" presId="urn:microsoft.com/office/officeart/2005/8/layout/cycle1"/>
    <dgm:cxn modelId="{0C336DBB-A789-4C2D-B0F5-24236000A3A3}" type="presParOf" srcId="{5F05DDD8-7375-4099-973B-5A475D8EE6B0}" destId="{5A726FE4-3298-4807-8246-4585174CA5BF}" srcOrd="1" destOrd="0" presId="urn:microsoft.com/office/officeart/2005/8/layout/cycle1"/>
    <dgm:cxn modelId="{8C2D154B-B19F-4AD0-9A8C-1C05E4229D12}" type="presParOf" srcId="{5F05DDD8-7375-4099-973B-5A475D8EE6B0}" destId="{10E7AFC6-07FD-4FD2-8102-652F5A31F64E}" srcOrd="2" destOrd="0" presId="urn:microsoft.com/office/officeart/2005/8/layout/cycle1"/>
    <dgm:cxn modelId="{A22B32EC-958E-4B0A-98EA-F4ED1E0EB7CB}" type="presParOf" srcId="{5F05DDD8-7375-4099-973B-5A475D8EE6B0}" destId="{E3B1D952-059C-45DE-AF54-E6F58DCEF608}" srcOrd="3" destOrd="0" presId="urn:microsoft.com/office/officeart/2005/8/layout/cycle1"/>
    <dgm:cxn modelId="{2BAC4548-EB9F-405B-BBE8-3807BEA2D034}" type="presParOf" srcId="{5F05DDD8-7375-4099-973B-5A475D8EE6B0}" destId="{24977D91-832F-49E8-80EE-DFB805796DF0}" srcOrd="4" destOrd="0" presId="urn:microsoft.com/office/officeart/2005/8/layout/cycle1"/>
    <dgm:cxn modelId="{BCE084F1-44E4-429A-A3DC-CF517EDD57D1}" type="presParOf" srcId="{5F05DDD8-7375-4099-973B-5A475D8EE6B0}" destId="{05CD7C18-42D2-429F-AB17-054AF06BA342}" srcOrd="5"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87C544D-3023-4F60-B53C-768C848DCD54}" type="doc">
      <dgm:prSet loTypeId="urn:microsoft.com/office/officeart/2005/8/layout/vProcess5" loCatId="process" qsTypeId="urn:microsoft.com/office/officeart/2005/8/quickstyle/simple2" qsCatId="simple" csTypeId="urn:microsoft.com/office/officeart/2005/8/colors/colorful2" csCatId="colorful" phldr="1"/>
      <dgm:spPr/>
      <dgm:t>
        <a:bodyPr/>
        <a:lstStyle/>
        <a:p>
          <a:endParaRPr lang="fr-FR"/>
        </a:p>
      </dgm:t>
    </dgm:pt>
    <dgm:pt modelId="{7246902C-F380-4244-A491-559EECE887E9}">
      <dgm:prSet phldrT="[Texte]"/>
      <dgm:spPr/>
      <dgm:t>
        <a:bodyPr/>
        <a:lstStyle/>
        <a:p>
          <a:pPr algn="ctr"/>
          <a:r>
            <a:rPr lang="fr-FR" dirty="0">
              <a:latin typeface="Arial" panose="020B0604020202020204" pitchFamily="34" charset="0"/>
              <a:cs typeface="Arial" panose="020B0604020202020204" pitchFamily="34" charset="0"/>
            </a:rPr>
            <a:t>L’expert-comptable</a:t>
          </a:r>
        </a:p>
        <a:p>
          <a:pPr algn="l"/>
          <a:r>
            <a:rPr lang="fr-FR" b="0" i="0" dirty="0"/>
            <a:t>=&gt; titulaire du diplôme français (DEC), bac + 8 ans dont 3 ans de stage en cabinet </a:t>
          </a:r>
          <a:endParaRPr lang="fr-FR" dirty="0">
            <a:latin typeface="Arial" panose="020B0604020202020204" pitchFamily="34" charset="0"/>
            <a:cs typeface="Arial" panose="020B0604020202020204" pitchFamily="34" charset="0"/>
          </a:endParaRPr>
        </a:p>
        <a:p>
          <a:pPr algn="l">
            <a:buFont typeface="Arial" panose="020B0604020202020204" pitchFamily="34" charset="0"/>
            <a:buChar char="•"/>
          </a:pPr>
          <a:r>
            <a:rPr lang="fr-FR" b="0" i="0" dirty="0"/>
            <a:t>=&gt; il est inscrit au tableau de l’Ordre des experts-comptables </a:t>
          </a:r>
        </a:p>
        <a:p>
          <a:pPr algn="l">
            <a:buFont typeface="Arial" panose="020B0604020202020204" pitchFamily="34" charset="0"/>
            <a:buChar char="•"/>
          </a:pPr>
          <a:r>
            <a:rPr lang="fr-FR" b="0" i="0" dirty="0"/>
            <a:t>=&gt; il prête serment lors de son inscription </a:t>
          </a:r>
        </a:p>
        <a:p>
          <a:pPr algn="l">
            <a:buFont typeface="Arial" panose="020B0604020202020204" pitchFamily="34" charset="0"/>
            <a:buChar char="•"/>
          </a:pPr>
          <a:r>
            <a:rPr lang="fr-FR" b="0" i="0" dirty="0"/>
            <a:t>=&gt; il est soumis à un code de déontologie et à des normes professionnelles </a:t>
          </a:r>
        </a:p>
        <a:p>
          <a:pPr algn="l">
            <a:buFont typeface="Arial" panose="020B0604020202020204" pitchFamily="34" charset="0"/>
            <a:buChar char="•"/>
          </a:pPr>
          <a:r>
            <a:rPr lang="fr-FR" b="0" i="0" dirty="0"/>
            <a:t>=&gt; il fait l’objet de contrôles réguliers sur son activité professionnelle </a:t>
          </a:r>
        </a:p>
        <a:p>
          <a:pPr algn="l"/>
          <a:r>
            <a:rPr lang="fr-FR" b="0" i="0" dirty="0"/>
            <a:t>=&gt; il est soumis à une obligation d’assurance civile professionnelle.</a:t>
          </a:r>
          <a:endParaRPr lang="fr-FR" dirty="0">
            <a:latin typeface="Arial" panose="020B0604020202020204" pitchFamily="34" charset="0"/>
            <a:cs typeface="Arial" panose="020B0604020202020204" pitchFamily="34" charset="0"/>
          </a:endParaRP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E09E0457-75FF-4CC5-ACDD-DC23C6C27867}" type="pres">
      <dgm:prSet presAssocID="{787C544D-3023-4F60-B53C-768C848DCD54}" presName="outerComposite" presStyleCnt="0">
        <dgm:presLayoutVars>
          <dgm:chMax val="5"/>
          <dgm:dir/>
          <dgm:resizeHandles val="exact"/>
        </dgm:presLayoutVars>
      </dgm:prSet>
      <dgm:spPr/>
    </dgm:pt>
    <dgm:pt modelId="{0EB909FA-3E83-4472-B156-6405693699CD}" type="pres">
      <dgm:prSet presAssocID="{787C544D-3023-4F60-B53C-768C848DCD54}" presName="dummyMaxCanvas" presStyleCnt="0">
        <dgm:presLayoutVars/>
      </dgm:prSet>
      <dgm:spPr/>
    </dgm:pt>
    <dgm:pt modelId="{7F4B4098-570F-4890-A54C-721607CE468C}" type="pres">
      <dgm:prSet presAssocID="{787C544D-3023-4F60-B53C-768C848DCD54}" presName="OneNode_1" presStyleLbl="node1" presStyleIdx="0" presStyleCnt="1" custScaleX="98463" custScaleY="198294">
        <dgm:presLayoutVars>
          <dgm:bulletEnabled val="1"/>
        </dgm:presLayoutVars>
      </dgm:prSet>
      <dgm:spPr/>
    </dgm:pt>
  </dgm:ptLst>
  <dgm:cxnLst>
    <dgm:cxn modelId="{4826CC48-60AE-4276-B66F-CECE3DE7F140}" type="presOf" srcId="{787C544D-3023-4F60-B53C-768C848DCD54}" destId="{E09E0457-75FF-4CC5-ACDD-DC23C6C27867}" srcOrd="0" destOrd="0" presId="urn:microsoft.com/office/officeart/2005/8/layout/vProcess5"/>
    <dgm:cxn modelId="{1E66AF7F-AB9D-47D9-BE50-8858B0C7DDDC}" type="presOf" srcId="{7246902C-F380-4244-A491-559EECE887E9}" destId="{7F4B4098-570F-4890-A54C-721607CE468C}" srcOrd="0" destOrd="0" presId="urn:microsoft.com/office/officeart/2005/8/layout/vProcess5"/>
    <dgm:cxn modelId="{E06F28F0-0187-4070-8490-6E6A76C82FBA}" srcId="{787C544D-3023-4F60-B53C-768C848DCD54}" destId="{7246902C-F380-4244-A491-559EECE887E9}" srcOrd="0" destOrd="0" parTransId="{C2C3550A-F1DD-4C8C-85ED-D96508225E30}" sibTransId="{19CBF419-9E92-4D5F-A934-D88F01C9054D}"/>
    <dgm:cxn modelId="{FF50C912-224B-410A-BCC5-0460D63DCC60}" type="presParOf" srcId="{E09E0457-75FF-4CC5-ACDD-DC23C6C27867}" destId="{0EB909FA-3E83-4472-B156-6405693699CD}" srcOrd="0" destOrd="0" presId="urn:microsoft.com/office/officeart/2005/8/layout/vProcess5"/>
    <dgm:cxn modelId="{93D20FDF-1AAD-4386-A63C-B4F3862EAB7E}" type="presParOf" srcId="{E09E0457-75FF-4CC5-ACDD-DC23C6C27867}" destId="{7F4B4098-570F-4890-A54C-721607CE468C}" srcOrd="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07761A2-DB8D-4305-B404-1BF5058A8032}" type="doc">
      <dgm:prSet loTypeId="urn:microsoft.com/office/officeart/2018/5/layout/IconLeaf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2EF948AB-79B2-4326-B959-F7313F6A4484}">
      <dgm:prSet/>
      <dgm:spPr/>
      <dgm:t>
        <a:bodyPr/>
        <a:lstStyle/>
        <a:p>
          <a:pPr>
            <a:defRPr cap="all"/>
          </a:pPr>
          <a:r>
            <a:rPr lang="en-US" b="0" i="0" baseline="0" dirty="0"/>
            <a:t>Doc 2 =&gt; LAB</a:t>
          </a:r>
          <a:endParaRPr lang="en-US" dirty="0"/>
        </a:p>
      </dgm:t>
    </dgm:pt>
    <dgm:pt modelId="{14D2F560-5809-4171-BC1D-83F882FBDD53}" type="parTrans" cxnId="{235B5039-611D-48F5-9013-74F07CF72536}">
      <dgm:prSet/>
      <dgm:spPr/>
      <dgm:t>
        <a:bodyPr/>
        <a:lstStyle/>
        <a:p>
          <a:endParaRPr lang="en-US"/>
        </a:p>
      </dgm:t>
    </dgm:pt>
    <dgm:pt modelId="{409E8D20-FFE8-49DD-A63C-051D54F14CD3}" type="sibTrans" cxnId="{235B5039-611D-48F5-9013-74F07CF72536}">
      <dgm:prSet/>
      <dgm:spPr/>
      <dgm:t>
        <a:bodyPr/>
        <a:lstStyle/>
        <a:p>
          <a:endParaRPr lang="en-US"/>
        </a:p>
      </dgm:t>
    </dgm:pt>
    <dgm:pt modelId="{0F1B27A6-8008-4380-9CFF-5E6581D734E7}">
      <dgm:prSet/>
      <dgm:spPr/>
      <dgm:t>
        <a:bodyPr/>
        <a:lstStyle/>
        <a:p>
          <a:pPr>
            <a:defRPr cap="all"/>
          </a:pPr>
          <a:r>
            <a:rPr lang="en-US" b="0" i="0" baseline="0" dirty="0"/>
            <a:t>Doc 1 =&gt; NPMQ </a:t>
          </a:r>
          <a:endParaRPr lang="en-US" dirty="0"/>
        </a:p>
      </dgm:t>
    </dgm:pt>
    <dgm:pt modelId="{1092E4CA-944C-4A40-A5D0-2C74EF0D7BEB}" type="parTrans" cxnId="{E40A3D54-2BFF-4C0E-8A46-44986BAD92C3}">
      <dgm:prSet/>
      <dgm:spPr/>
      <dgm:t>
        <a:bodyPr/>
        <a:lstStyle/>
        <a:p>
          <a:endParaRPr lang="en-US"/>
        </a:p>
      </dgm:t>
    </dgm:pt>
    <dgm:pt modelId="{52A805B8-5A18-4229-9D12-B47F27CAF9D8}" type="sibTrans" cxnId="{E40A3D54-2BFF-4C0E-8A46-44986BAD92C3}">
      <dgm:prSet/>
      <dgm:spPr/>
      <dgm:t>
        <a:bodyPr/>
        <a:lstStyle/>
        <a:p>
          <a:endParaRPr lang="en-US"/>
        </a:p>
      </dgm:t>
    </dgm:pt>
    <dgm:pt modelId="{ED202CF9-AFFD-4575-BA2E-D57F563265E2}">
      <dgm:prSet/>
      <dgm:spPr/>
      <dgm:t>
        <a:bodyPr/>
        <a:lstStyle/>
        <a:p>
          <a:pPr>
            <a:defRPr cap="all"/>
          </a:pPr>
          <a:r>
            <a:rPr lang="en-US" b="0" i="0" baseline="0"/>
            <a:t>Doc 3 : =&gt; liste 23  </a:t>
          </a:r>
          <a:r>
            <a:rPr lang="en-US" b="0" i="0" baseline="0">
              <a:hlinkClick xmlns:r="http://schemas.openxmlformats.org/officeDocument/2006/relationships" r:id="rId1"/>
            </a:rPr>
            <a:t>https://ec.europa.eu/commission/presscorner/detail/fr/IP_19_781</a:t>
          </a:r>
          <a:r>
            <a:rPr lang="en-US" b="0" i="0" baseline="0"/>
            <a:t> </a:t>
          </a:r>
          <a:endParaRPr lang="en-US"/>
        </a:p>
      </dgm:t>
    </dgm:pt>
    <dgm:pt modelId="{CBD04429-2F2F-4D8A-BFBE-8D85ED0E6DC4}" type="parTrans" cxnId="{C6F0A1DD-1A83-4E7A-9125-AB225C7656EC}">
      <dgm:prSet/>
      <dgm:spPr/>
      <dgm:t>
        <a:bodyPr/>
        <a:lstStyle/>
        <a:p>
          <a:endParaRPr lang="en-US"/>
        </a:p>
      </dgm:t>
    </dgm:pt>
    <dgm:pt modelId="{C13B37CD-A394-4C0C-9A85-E71BE90E7355}" type="sibTrans" cxnId="{C6F0A1DD-1A83-4E7A-9125-AB225C7656EC}">
      <dgm:prSet/>
      <dgm:spPr/>
      <dgm:t>
        <a:bodyPr/>
        <a:lstStyle/>
        <a:p>
          <a:endParaRPr lang="en-US"/>
        </a:p>
      </dgm:t>
    </dgm:pt>
    <dgm:pt modelId="{577B85EE-A01D-49A3-AA72-8331701B96D5}" type="pres">
      <dgm:prSet presAssocID="{A07761A2-DB8D-4305-B404-1BF5058A8032}" presName="root" presStyleCnt="0">
        <dgm:presLayoutVars>
          <dgm:dir/>
          <dgm:resizeHandles val="exact"/>
        </dgm:presLayoutVars>
      </dgm:prSet>
      <dgm:spPr/>
    </dgm:pt>
    <dgm:pt modelId="{C7D04FF7-B8E6-435F-8566-16526B8F94C5}" type="pres">
      <dgm:prSet presAssocID="{2EF948AB-79B2-4326-B959-F7313F6A4484}" presName="compNode" presStyleCnt="0"/>
      <dgm:spPr/>
    </dgm:pt>
    <dgm:pt modelId="{B6E99EE8-44B9-4693-A70F-4C74AD130EC6}" type="pres">
      <dgm:prSet presAssocID="{2EF948AB-79B2-4326-B959-F7313F6A4484}" presName="iconBgRect" presStyleLbl="bgShp" presStyleIdx="0" presStyleCnt="3"/>
      <dgm:spPr>
        <a:prstGeom prst="round2DiagRect">
          <a:avLst>
            <a:gd name="adj1" fmla="val 29727"/>
            <a:gd name="adj2" fmla="val 0"/>
          </a:avLst>
        </a:prstGeom>
      </dgm:spPr>
    </dgm:pt>
    <dgm:pt modelId="{74E7962B-4810-460A-A1CB-E6CC8C430ABB}" type="pres">
      <dgm:prSet presAssocID="{2EF948AB-79B2-4326-B959-F7313F6A4484}" presName="iconRect" presStyleLbl="node1" presStyleIdx="0" presStyleCnt="3"/>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Coche"/>
        </a:ext>
      </dgm:extLst>
    </dgm:pt>
    <dgm:pt modelId="{1FECB6DA-1884-4864-B604-343CF021CDF1}" type="pres">
      <dgm:prSet presAssocID="{2EF948AB-79B2-4326-B959-F7313F6A4484}" presName="spaceRect" presStyleCnt="0"/>
      <dgm:spPr/>
    </dgm:pt>
    <dgm:pt modelId="{37661008-DC16-407B-82DE-1FAFD93FA5A0}" type="pres">
      <dgm:prSet presAssocID="{2EF948AB-79B2-4326-B959-F7313F6A4484}" presName="textRect" presStyleLbl="revTx" presStyleIdx="0" presStyleCnt="3" custLinFactX="17096" custLinFactNeighborX="100000" custLinFactNeighborY="-39705">
        <dgm:presLayoutVars>
          <dgm:chMax val="1"/>
          <dgm:chPref val="1"/>
        </dgm:presLayoutVars>
      </dgm:prSet>
      <dgm:spPr/>
    </dgm:pt>
    <dgm:pt modelId="{17A010CA-8BBD-47EC-B07B-AA3A8D7BE4B8}" type="pres">
      <dgm:prSet presAssocID="{409E8D20-FFE8-49DD-A63C-051D54F14CD3}" presName="sibTrans" presStyleCnt="0"/>
      <dgm:spPr/>
    </dgm:pt>
    <dgm:pt modelId="{FB3E4D03-BC4B-4B8F-A171-7F886E992A44}" type="pres">
      <dgm:prSet presAssocID="{0F1B27A6-8008-4380-9CFF-5E6581D734E7}" presName="compNode" presStyleCnt="0"/>
      <dgm:spPr/>
    </dgm:pt>
    <dgm:pt modelId="{69A8EFB5-1B68-4E4C-B40F-8F5B95D21F56}" type="pres">
      <dgm:prSet presAssocID="{0F1B27A6-8008-4380-9CFF-5E6581D734E7}" presName="iconBgRect" presStyleLbl="bgShp" presStyleIdx="1" presStyleCnt="3"/>
      <dgm:spPr>
        <a:prstGeom prst="round2DiagRect">
          <a:avLst>
            <a:gd name="adj1" fmla="val 29727"/>
            <a:gd name="adj2" fmla="val 0"/>
          </a:avLst>
        </a:prstGeom>
      </dgm:spPr>
    </dgm:pt>
    <dgm:pt modelId="{19ACBB8D-0980-4B10-B63F-4FF686843ADD}" type="pres">
      <dgm:prSet presAssocID="{0F1B27A6-8008-4380-9CFF-5E6581D734E7}" presName="iconRect" presStyleLbl="node1" presStyleIdx="1" presStyleCnt="3"/>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Document"/>
        </a:ext>
      </dgm:extLst>
    </dgm:pt>
    <dgm:pt modelId="{0294A5F1-B252-40C1-A176-4BCBBAB847F9}" type="pres">
      <dgm:prSet presAssocID="{0F1B27A6-8008-4380-9CFF-5E6581D734E7}" presName="spaceRect" presStyleCnt="0"/>
      <dgm:spPr/>
    </dgm:pt>
    <dgm:pt modelId="{A497487D-70E1-46E6-9EAA-C26B52ED49C3}" type="pres">
      <dgm:prSet presAssocID="{0F1B27A6-8008-4380-9CFF-5E6581D734E7}" presName="textRect" presStyleLbl="revTx" presStyleIdx="1" presStyleCnt="3" custLinFactNeighborX="-98229" custLinFactNeighborY="-25633">
        <dgm:presLayoutVars>
          <dgm:chMax val="1"/>
          <dgm:chPref val="1"/>
        </dgm:presLayoutVars>
      </dgm:prSet>
      <dgm:spPr/>
    </dgm:pt>
    <dgm:pt modelId="{A14949C8-A246-4581-9A85-B3138E3F14FB}" type="pres">
      <dgm:prSet presAssocID="{52A805B8-5A18-4229-9D12-B47F27CAF9D8}" presName="sibTrans" presStyleCnt="0"/>
      <dgm:spPr/>
    </dgm:pt>
    <dgm:pt modelId="{0C602488-DD3B-4D9B-917F-37F2A40C4D69}" type="pres">
      <dgm:prSet presAssocID="{ED202CF9-AFFD-4575-BA2E-D57F563265E2}" presName="compNode" presStyleCnt="0"/>
      <dgm:spPr/>
    </dgm:pt>
    <dgm:pt modelId="{136F0D8A-F576-47CC-B779-319EDF62A7E9}" type="pres">
      <dgm:prSet presAssocID="{ED202CF9-AFFD-4575-BA2E-D57F563265E2}" presName="iconBgRect" presStyleLbl="bgShp" presStyleIdx="2" presStyleCnt="3"/>
      <dgm:spPr>
        <a:prstGeom prst="round2DiagRect">
          <a:avLst>
            <a:gd name="adj1" fmla="val 29727"/>
            <a:gd name="adj2" fmla="val 0"/>
          </a:avLst>
        </a:prstGeom>
      </dgm:spPr>
    </dgm:pt>
    <dgm:pt modelId="{185CA3CA-8F9A-4B4D-9D7A-4C8C86AF8185}" type="pres">
      <dgm:prSet presAssocID="{ED202CF9-AFFD-4575-BA2E-D57F563265E2}" presName="iconRect" presStyleLbl="node1" presStyleIdx="2" presStyleCnt="3"/>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dgm:spPr>
      <dgm:extLst>
        <a:ext uri="{E40237B7-FDA0-4F09-8148-C483321AD2D9}">
          <dgm14:cNvPr xmlns:dgm14="http://schemas.microsoft.com/office/drawing/2010/diagram" id="0" name="" descr="Open Folder"/>
        </a:ext>
      </dgm:extLst>
    </dgm:pt>
    <dgm:pt modelId="{196C326F-E6E1-4E09-B201-4327D60AE911}" type="pres">
      <dgm:prSet presAssocID="{ED202CF9-AFFD-4575-BA2E-D57F563265E2}" presName="spaceRect" presStyleCnt="0"/>
      <dgm:spPr/>
    </dgm:pt>
    <dgm:pt modelId="{B9BA8C03-22BE-49B2-8CDA-E1A016091C7D}" type="pres">
      <dgm:prSet presAssocID="{ED202CF9-AFFD-4575-BA2E-D57F563265E2}" presName="textRect" presStyleLbl="revTx" presStyleIdx="2" presStyleCnt="3">
        <dgm:presLayoutVars>
          <dgm:chMax val="1"/>
          <dgm:chPref val="1"/>
        </dgm:presLayoutVars>
      </dgm:prSet>
      <dgm:spPr/>
    </dgm:pt>
  </dgm:ptLst>
  <dgm:cxnLst>
    <dgm:cxn modelId="{235B5039-611D-48F5-9013-74F07CF72536}" srcId="{A07761A2-DB8D-4305-B404-1BF5058A8032}" destId="{2EF948AB-79B2-4326-B959-F7313F6A4484}" srcOrd="0" destOrd="0" parTransId="{14D2F560-5809-4171-BC1D-83F882FBDD53}" sibTransId="{409E8D20-FFE8-49DD-A63C-051D54F14CD3}"/>
    <dgm:cxn modelId="{6A236F41-ABA0-4017-8447-3577663035C6}" type="presOf" srcId="{ED202CF9-AFFD-4575-BA2E-D57F563265E2}" destId="{B9BA8C03-22BE-49B2-8CDA-E1A016091C7D}" srcOrd="0" destOrd="0" presId="urn:microsoft.com/office/officeart/2018/5/layout/IconLeafLabelList"/>
    <dgm:cxn modelId="{E9513D62-20C3-4E38-9201-6C21535C0B79}" type="presOf" srcId="{2EF948AB-79B2-4326-B959-F7313F6A4484}" destId="{37661008-DC16-407B-82DE-1FAFD93FA5A0}" srcOrd="0" destOrd="0" presId="urn:microsoft.com/office/officeart/2018/5/layout/IconLeafLabelList"/>
    <dgm:cxn modelId="{E40A3D54-2BFF-4C0E-8A46-44986BAD92C3}" srcId="{A07761A2-DB8D-4305-B404-1BF5058A8032}" destId="{0F1B27A6-8008-4380-9CFF-5E6581D734E7}" srcOrd="1" destOrd="0" parTransId="{1092E4CA-944C-4A40-A5D0-2C74EF0D7BEB}" sibTransId="{52A805B8-5A18-4229-9D12-B47F27CAF9D8}"/>
    <dgm:cxn modelId="{B8DC43CA-8E16-43AC-A520-A72DD4BF8A34}" type="presOf" srcId="{0F1B27A6-8008-4380-9CFF-5E6581D734E7}" destId="{A497487D-70E1-46E6-9EAA-C26B52ED49C3}" srcOrd="0" destOrd="0" presId="urn:microsoft.com/office/officeart/2018/5/layout/IconLeafLabelList"/>
    <dgm:cxn modelId="{C6F0A1DD-1A83-4E7A-9125-AB225C7656EC}" srcId="{A07761A2-DB8D-4305-B404-1BF5058A8032}" destId="{ED202CF9-AFFD-4575-BA2E-D57F563265E2}" srcOrd="2" destOrd="0" parTransId="{CBD04429-2F2F-4D8A-BFBE-8D85ED0E6DC4}" sibTransId="{C13B37CD-A394-4C0C-9A85-E71BE90E7355}"/>
    <dgm:cxn modelId="{40ACEBE9-7622-4EEA-97F6-376B5FACAF38}" type="presOf" srcId="{A07761A2-DB8D-4305-B404-1BF5058A8032}" destId="{577B85EE-A01D-49A3-AA72-8331701B96D5}" srcOrd="0" destOrd="0" presId="urn:microsoft.com/office/officeart/2018/5/layout/IconLeafLabelList"/>
    <dgm:cxn modelId="{CB00A4C0-4258-4486-B223-99FBFF3F39DF}" type="presParOf" srcId="{577B85EE-A01D-49A3-AA72-8331701B96D5}" destId="{C7D04FF7-B8E6-435F-8566-16526B8F94C5}" srcOrd="0" destOrd="0" presId="urn:microsoft.com/office/officeart/2018/5/layout/IconLeafLabelList"/>
    <dgm:cxn modelId="{D7369F2E-E481-4E5C-BBE1-CB09FE4CC115}" type="presParOf" srcId="{C7D04FF7-B8E6-435F-8566-16526B8F94C5}" destId="{B6E99EE8-44B9-4693-A70F-4C74AD130EC6}" srcOrd="0" destOrd="0" presId="urn:microsoft.com/office/officeart/2018/5/layout/IconLeafLabelList"/>
    <dgm:cxn modelId="{4D127379-8F88-42BA-A3EF-F16784DDC48E}" type="presParOf" srcId="{C7D04FF7-B8E6-435F-8566-16526B8F94C5}" destId="{74E7962B-4810-460A-A1CB-E6CC8C430ABB}" srcOrd="1" destOrd="0" presId="urn:microsoft.com/office/officeart/2018/5/layout/IconLeafLabelList"/>
    <dgm:cxn modelId="{AA4E3E70-ACA6-4399-9D97-CC5C8F9C2077}" type="presParOf" srcId="{C7D04FF7-B8E6-435F-8566-16526B8F94C5}" destId="{1FECB6DA-1884-4864-B604-343CF021CDF1}" srcOrd="2" destOrd="0" presId="urn:microsoft.com/office/officeart/2018/5/layout/IconLeafLabelList"/>
    <dgm:cxn modelId="{26EB52AD-73AE-49C9-8723-567149BCE407}" type="presParOf" srcId="{C7D04FF7-B8E6-435F-8566-16526B8F94C5}" destId="{37661008-DC16-407B-82DE-1FAFD93FA5A0}" srcOrd="3" destOrd="0" presId="urn:microsoft.com/office/officeart/2018/5/layout/IconLeafLabelList"/>
    <dgm:cxn modelId="{EBE3C6EC-7A6F-4A9E-816F-664FFE6140DA}" type="presParOf" srcId="{577B85EE-A01D-49A3-AA72-8331701B96D5}" destId="{17A010CA-8BBD-47EC-B07B-AA3A8D7BE4B8}" srcOrd="1" destOrd="0" presId="urn:microsoft.com/office/officeart/2018/5/layout/IconLeafLabelList"/>
    <dgm:cxn modelId="{5BA8507A-8D23-4EEC-91F3-7734281B4B38}" type="presParOf" srcId="{577B85EE-A01D-49A3-AA72-8331701B96D5}" destId="{FB3E4D03-BC4B-4B8F-A171-7F886E992A44}" srcOrd="2" destOrd="0" presId="urn:microsoft.com/office/officeart/2018/5/layout/IconLeafLabelList"/>
    <dgm:cxn modelId="{BD612DD6-A1B7-44DE-AB3C-DC58EFE59756}" type="presParOf" srcId="{FB3E4D03-BC4B-4B8F-A171-7F886E992A44}" destId="{69A8EFB5-1B68-4E4C-B40F-8F5B95D21F56}" srcOrd="0" destOrd="0" presId="urn:microsoft.com/office/officeart/2018/5/layout/IconLeafLabelList"/>
    <dgm:cxn modelId="{AD6449A0-01BD-4575-8DB6-DD02D1C62C29}" type="presParOf" srcId="{FB3E4D03-BC4B-4B8F-A171-7F886E992A44}" destId="{19ACBB8D-0980-4B10-B63F-4FF686843ADD}" srcOrd="1" destOrd="0" presId="urn:microsoft.com/office/officeart/2018/5/layout/IconLeafLabelList"/>
    <dgm:cxn modelId="{6DC06AE6-0ED0-4C18-8549-DB0587BBA8CB}" type="presParOf" srcId="{FB3E4D03-BC4B-4B8F-A171-7F886E992A44}" destId="{0294A5F1-B252-40C1-A176-4BCBBAB847F9}" srcOrd="2" destOrd="0" presId="urn:microsoft.com/office/officeart/2018/5/layout/IconLeafLabelList"/>
    <dgm:cxn modelId="{799268FF-C4AC-4C29-A802-A9B00F046162}" type="presParOf" srcId="{FB3E4D03-BC4B-4B8F-A171-7F886E992A44}" destId="{A497487D-70E1-46E6-9EAA-C26B52ED49C3}" srcOrd="3" destOrd="0" presId="urn:microsoft.com/office/officeart/2018/5/layout/IconLeafLabelList"/>
    <dgm:cxn modelId="{66591D87-103A-4243-843C-18F9ADB67678}" type="presParOf" srcId="{577B85EE-A01D-49A3-AA72-8331701B96D5}" destId="{A14949C8-A246-4581-9A85-B3138E3F14FB}" srcOrd="3" destOrd="0" presId="urn:microsoft.com/office/officeart/2018/5/layout/IconLeafLabelList"/>
    <dgm:cxn modelId="{4FE311EC-095D-4F7C-9E87-37FD368E2C78}" type="presParOf" srcId="{577B85EE-A01D-49A3-AA72-8331701B96D5}" destId="{0C602488-DD3B-4D9B-917F-37F2A40C4D69}" srcOrd="4" destOrd="0" presId="urn:microsoft.com/office/officeart/2018/5/layout/IconLeafLabelList"/>
    <dgm:cxn modelId="{5968AF5E-075C-4D82-B0F2-86136FBBEDCE}" type="presParOf" srcId="{0C602488-DD3B-4D9B-917F-37F2A40C4D69}" destId="{136F0D8A-F576-47CC-B779-319EDF62A7E9}" srcOrd="0" destOrd="0" presId="urn:microsoft.com/office/officeart/2018/5/layout/IconLeafLabelList"/>
    <dgm:cxn modelId="{5FBFF9C8-8055-4C5B-9D40-A1CF2E4EA0A3}" type="presParOf" srcId="{0C602488-DD3B-4D9B-917F-37F2A40C4D69}" destId="{185CA3CA-8F9A-4B4D-9D7A-4C8C86AF8185}" srcOrd="1" destOrd="0" presId="urn:microsoft.com/office/officeart/2018/5/layout/IconLeafLabelList"/>
    <dgm:cxn modelId="{D1C85066-7B6F-497C-B2F2-1A6DBA57B3AA}" type="presParOf" srcId="{0C602488-DD3B-4D9B-917F-37F2A40C4D69}" destId="{196C326F-E6E1-4E09-B201-4327D60AE911}" srcOrd="2" destOrd="0" presId="urn:microsoft.com/office/officeart/2018/5/layout/IconLeafLabelList"/>
    <dgm:cxn modelId="{F23AD04E-9657-4065-9300-9308E68F1EE4}" type="presParOf" srcId="{0C602488-DD3B-4D9B-917F-37F2A40C4D69}" destId="{B9BA8C03-22BE-49B2-8CDA-E1A016091C7D}" srcOrd="3" destOrd="0" presId="urn:microsoft.com/office/officeart/2018/5/layout/IconLeaf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87C544D-3023-4F60-B53C-768C848DCD54}" type="doc">
      <dgm:prSet loTypeId="urn:microsoft.com/office/officeart/2005/8/layout/vProcess5" loCatId="process" qsTypeId="urn:microsoft.com/office/officeart/2005/8/quickstyle/simple2" qsCatId="simple" csTypeId="urn:microsoft.com/office/officeart/2005/8/colors/colorful2" csCatId="colorful" phldr="1"/>
      <dgm:spPr/>
      <dgm:t>
        <a:bodyPr/>
        <a:lstStyle/>
        <a:p>
          <a:endParaRPr lang="fr-FR"/>
        </a:p>
      </dgm:t>
    </dgm:pt>
    <dgm:pt modelId="{7246902C-F380-4244-A491-559EECE887E9}">
      <dgm:prSet phldrT="[Texte]"/>
      <dgm:spPr/>
      <dgm:t>
        <a:bodyPr/>
        <a:lstStyle/>
        <a:p>
          <a:r>
            <a:rPr lang="fr-FR" dirty="0">
              <a:latin typeface="Arial" panose="020B0604020202020204" pitchFamily="34" charset="0"/>
              <a:cs typeface="Arial" panose="020B0604020202020204" pitchFamily="34" charset="0"/>
            </a:rPr>
            <a:t>La comptabilité = </a:t>
          </a:r>
          <a:r>
            <a:rPr lang="fr-FR" b="0" i="0" dirty="0">
              <a:latin typeface="Arial" panose="020B0604020202020204" pitchFamily="34" charset="0"/>
              <a:cs typeface="Arial" panose="020B0604020202020204" pitchFamily="34" charset="0"/>
            </a:rPr>
            <a:t>langage + système d’information</a:t>
          </a:r>
        </a:p>
        <a:p>
          <a:r>
            <a:rPr lang="fr-FR" b="0" i="0" dirty="0">
              <a:latin typeface="Arial" panose="020B0604020202020204" pitchFamily="34" charset="0"/>
              <a:cs typeface="Arial" panose="020B0604020202020204" pitchFamily="34" charset="0"/>
            </a:rPr>
            <a:t>Elle sert à communiquer</a:t>
          </a:r>
        </a:p>
        <a:p>
          <a:r>
            <a:rPr lang="fr-FR" b="0" i="0" dirty="0">
              <a:latin typeface="Arial" panose="020B0604020202020204" pitchFamily="34" charset="0"/>
              <a:cs typeface="Arial" panose="020B0604020202020204" pitchFamily="34" charset="0"/>
            </a:rPr>
            <a:t>Objectif : établir les états financiers (Bilan, Compte de résultat et Annexes) selon des règles reconnues par tous</a:t>
          </a:r>
          <a:endParaRPr lang="fr-FR" dirty="0">
            <a:latin typeface="Arial" panose="020B0604020202020204" pitchFamily="34" charset="0"/>
            <a:cs typeface="Arial" panose="020B0604020202020204" pitchFamily="34" charset="0"/>
          </a:endParaRPr>
        </a:p>
      </dgm:t>
    </dgm:pt>
    <dgm:pt modelId="{C2C3550A-F1DD-4C8C-85ED-D96508225E30}" type="parTrans" cxnId="{E06F28F0-0187-4070-8490-6E6A76C82FBA}">
      <dgm:prSet/>
      <dgm:spPr/>
      <dgm:t>
        <a:bodyPr/>
        <a:lstStyle/>
        <a:p>
          <a:endParaRPr lang="fr-FR"/>
        </a:p>
      </dgm:t>
    </dgm:pt>
    <dgm:pt modelId="{19CBF419-9E92-4D5F-A934-D88F01C9054D}" type="sibTrans" cxnId="{E06F28F0-0187-4070-8490-6E6A76C82FBA}">
      <dgm:prSet/>
      <dgm:spPr/>
      <dgm:t>
        <a:bodyPr/>
        <a:lstStyle/>
        <a:p>
          <a:endParaRPr lang="fr-FR"/>
        </a:p>
      </dgm:t>
    </dgm:pt>
    <dgm:pt modelId="{E09E0457-75FF-4CC5-ACDD-DC23C6C27867}" type="pres">
      <dgm:prSet presAssocID="{787C544D-3023-4F60-B53C-768C848DCD54}" presName="outerComposite" presStyleCnt="0">
        <dgm:presLayoutVars>
          <dgm:chMax val="5"/>
          <dgm:dir/>
          <dgm:resizeHandles val="exact"/>
        </dgm:presLayoutVars>
      </dgm:prSet>
      <dgm:spPr/>
    </dgm:pt>
    <dgm:pt modelId="{0EB909FA-3E83-4472-B156-6405693699CD}" type="pres">
      <dgm:prSet presAssocID="{787C544D-3023-4F60-B53C-768C848DCD54}" presName="dummyMaxCanvas" presStyleCnt="0">
        <dgm:presLayoutVars/>
      </dgm:prSet>
      <dgm:spPr/>
    </dgm:pt>
    <dgm:pt modelId="{7F4B4098-570F-4890-A54C-721607CE468C}" type="pres">
      <dgm:prSet presAssocID="{787C544D-3023-4F60-B53C-768C848DCD54}" presName="OneNode_1" presStyleLbl="node1" presStyleIdx="0" presStyleCnt="1">
        <dgm:presLayoutVars>
          <dgm:bulletEnabled val="1"/>
        </dgm:presLayoutVars>
      </dgm:prSet>
      <dgm:spPr/>
    </dgm:pt>
  </dgm:ptLst>
  <dgm:cxnLst>
    <dgm:cxn modelId="{4826CC48-60AE-4276-B66F-CECE3DE7F140}" type="presOf" srcId="{787C544D-3023-4F60-B53C-768C848DCD54}" destId="{E09E0457-75FF-4CC5-ACDD-DC23C6C27867}" srcOrd="0" destOrd="0" presId="urn:microsoft.com/office/officeart/2005/8/layout/vProcess5"/>
    <dgm:cxn modelId="{1E66AF7F-AB9D-47D9-BE50-8858B0C7DDDC}" type="presOf" srcId="{7246902C-F380-4244-A491-559EECE887E9}" destId="{7F4B4098-570F-4890-A54C-721607CE468C}" srcOrd="0" destOrd="0" presId="urn:microsoft.com/office/officeart/2005/8/layout/vProcess5"/>
    <dgm:cxn modelId="{E06F28F0-0187-4070-8490-6E6A76C82FBA}" srcId="{787C544D-3023-4F60-B53C-768C848DCD54}" destId="{7246902C-F380-4244-A491-559EECE887E9}" srcOrd="0" destOrd="0" parTransId="{C2C3550A-F1DD-4C8C-85ED-D96508225E30}" sibTransId="{19CBF419-9E92-4D5F-A934-D88F01C9054D}"/>
    <dgm:cxn modelId="{FF50C912-224B-410A-BCC5-0460D63DCC60}" type="presParOf" srcId="{E09E0457-75FF-4CC5-ACDD-DC23C6C27867}" destId="{0EB909FA-3E83-4472-B156-6405693699CD}" srcOrd="0" destOrd="0" presId="urn:microsoft.com/office/officeart/2005/8/layout/vProcess5"/>
    <dgm:cxn modelId="{93D20FDF-1AAD-4386-A63C-B4F3862EAB7E}" type="presParOf" srcId="{E09E0457-75FF-4CC5-ACDD-DC23C6C27867}" destId="{7F4B4098-570F-4890-A54C-721607CE468C}" srcOrd="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CCA5B7E-21A6-4DC3-AEB6-73C0341295A9}" type="doc">
      <dgm:prSet loTypeId="urn:microsoft.com/office/officeart/2018/2/layout/Icon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E795DB93-7A97-450F-98F4-ED1E9136DB97}">
      <dgm:prSet/>
      <dgm:spPr/>
      <dgm:t>
        <a:bodyPr/>
        <a:lstStyle/>
        <a:p>
          <a:pPr>
            <a:lnSpc>
              <a:spcPct val="100000"/>
            </a:lnSpc>
          </a:pPr>
          <a:r>
            <a:rPr lang="en-US" dirty="0"/>
            <a:t>Engagement</a:t>
          </a:r>
        </a:p>
      </dgm:t>
    </dgm:pt>
    <dgm:pt modelId="{5B8FA836-B932-461E-8FB8-E5B80EA0822F}" type="parTrans" cxnId="{B02DAE81-278C-4C87-851D-4AB83F77BA19}">
      <dgm:prSet/>
      <dgm:spPr/>
      <dgm:t>
        <a:bodyPr/>
        <a:lstStyle/>
        <a:p>
          <a:endParaRPr lang="en-US"/>
        </a:p>
      </dgm:t>
    </dgm:pt>
    <dgm:pt modelId="{A1C8728D-DD21-4CAC-83E7-6F49F6B34D00}" type="sibTrans" cxnId="{B02DAE81-278C-4C87-851D-4AB83F77BA19}">
      <dgm:prSet/>
      <dgm:spPr/>
      <dgm:t>
        <a:bodyPr/>
        <a:lstStyle/>
        <a:p>
          <a:endParaRPr lang="en-US"/>
        </a:p>
      </dgm:t>
    </dgm:pt>
    <dgm:pt modelId="{C1E51F19-9EB4-4BFA-9965-31A70CF860D2}">
      <dgm:prSet/>
      <dgm:spPr/>
      <dgm:t>
        <a:bodyPr/>
        <a:lstStyle/>
        <a:p>
          <a:pPr>
            <a:lnSpc>
              <a:spcPct val="100000"/>
            </a:lnSpc>
          </a:pPr>
          <a:r>
            <a:rPr lang="en-US" dirty="0" err="1"/>
            <a:t>Trésorerie</a:t>
          </a:r>
          <a:endParaRPr lang="en-US" dirty="0"/>
        </a:p>
      </dgm:t>
    </dgm:pt>
    <dgm:pt modelId="{4B84D0E7-894C-4089-9E92-AB79AF63F277}" type="parTrans" cxnId="{6C5E4B9F-D674-45F3-AA7C-E485FF4F2786}">
      <dgm:prSet/>
      <dgm:spPr/>
      <dgm:t>
        <a:bodyPr/>
        <a:lstStyle/>
        <a:p>
          <a:endParaRPr lang="en-US"/>
        </a:p>
      </dgm:t>
    </dgm:pt>
    <dgm:pt modelId="{B70D632C-0E88-46DE-AEEF-23B4995490BB}" type="sibTrans" cxnId="{6C5E4B9F-D674-45F3-AA7C-E485FF4F2786}">
      <dgm:prSet/>
      <dgm:spPr/>
      <dgm:t>
        <a:bodyPr/>
        <a:lstStyle/>
        <a:p>
          <a:endParaRPr lang="en-US"/>
        </a:p>
      </dgm:t>
    </dgm:pt>
    <dgm:pt modelId="{1E55ED33-0951-4B2B-A3D5-5EFB734522D4}" type="pres">
      <dgm:prSet presAssocID="{2CCA5B7E-21A6-4DC3-AEB6-73C0341295A9}" presName="root" presStyleCnt="0">
        <dgm:presLayoutVars>
          <dgm:dir/>
          <dgm:resizeHandles val="exact"/>
        </dgm:presLayoutVars>
      </dgm:prSet>
      <dgm:spPr/>
    </dgm:pt>
    <dgm:pt modelId="{E9491E1C-A07B-4BE9-9851-80ED2972F1A5}" type="pres">
      <dgm:prSet presAssocID="{E795DB93-7A97-450F-98F4-ED1E9136DB97}" presName="compNode" presStyleCnt="0"/>
      <dgm:spPr/>
    </dgm:pt>
    <dgm:pt modelId="{66A3DAA9-DB59-4706-A27B-466FAABE7F09}" type="pres">
      <dgm:prSet presAssocID="{E795DB93-7A97-450F-98F4-ED1E9136DB97}" presName="iconRect" presStyleLbl="node1" presStyleIdx="0" presStyleCnt="2" custScaleX="165024"/>
      <dgm:spPr>
        <a:blipFill>
          <a:blip xmlns:r="http://schemas.openxmlformats.org/officeDocument/2006/relationships" r:embed="rId1">
            <a:extLst>
              <a:ext uri="{837473B0-CC2E-450A-ABE3-18F120FF3D39}">
                <a1611:picAttrSrcUrl xmlns:a1611="http://schemas.microsoft.com/office/drawing/2016/11/main" r:id="rId2"/>
              </a:ext>
            </a:extLst>
          </a:blip>
          <a:srcRect/>
          <a:stretch>
            <a:fillRect l="-25000" r="-25000"/>
          </a:stretch>
        </a:blipFill>
        <a:ln>
          <a:noFill/>
        </a:ln>
      </dgm:spPr>
    </dgm:pt>
    <dgm:pt modelId="{C2CD11CD-23CA-4935-BF03-B26B488EAA20}" type="pres">
      <dgm:prSet presAssocID="{E795DB93-7A97-450F-98F4-ED1E9136DB97}" presName="spaceRect" presStyleCnt="0"/>
      <dgm:spPr/>
    </dgm:pt>
    <dgm:pt modelId="{8CFEC6EC-C75B-4D5F-BF78-3A7B6AC37F8F}" type="pres">
      <dgm:prSet presAssocID="{E795DB93-7A97-450F-98F4-ED1E9136DB97}" presName="textRect" presStyleLbl="revTx" presStyleIdx="0" presStyleCnt="2">
        <dgm:presLayoutVars>
          <dgm:chMax val="1"/>
          <dgm:chPref val="1"/>
        </dgm:presLayoutVars>
      </dgm:prSet>
      <dgm:spPr/>
    </dgm:pt>
    <dgm:pt modelId="{A534A6A3-6FED-4FC9-93D3-56D82216C7D0}" type="pres">
      <dgm:prSet presAssocID="{A1C8728D-DD21-4CAC-83E7-6F49F6B34D00}" presName="sibTrans" presStyleCnt="0"/>
      <dgm:spPr/>
    </dgm:pt>
    <dgm:pt modelId="{1EEB9D7E-5DEB-40EC-8DD9-776DDE6FFF80}" type="pres">
      <dgm:prSet presAssocID="{C1E51F19-9EB4-4BFA-9965-31A70CF860D2}" presName="compNode" presStyleCnt="0"/>
      <dgm:spPr/>
    </dgm:pt>
    <dgm:pt modelId="{36F343E4-A148-4814-80CB-87DAED571C9A}" type="pres">
      <dgm:prSet presAssocID="{C1E51F19-9EB4-4BFA-9965-31A70CF860D2}" presName="iconRect" presStyleLbl="node1" presStyleIdx="1" presStyleCnt="2" custScaleX="169382"/>
      <dgm:spPr>
        <a:blipFill>
          <a:blip xmlns:r="http://schemas.openxmlformats.org/officeDocument/2006/relationships" r:embed="rId3"/>
          <a:srcRect/>
          <a:stretch>
            <a:fillRect t="-6000" b="-6000"/>
          </a:stretch>
        </a:blipFill>
        <a:ln>
          <a:noFill/>
        </a:ln>
      </dgm:spPr>
      <dgm:extLst>
        <a:ext uri="{E40237B7-FDA0-4F09-8148-C483321AD2D9}">
          <dgm14:cNvPr xmlns:dgm14="http://schemas.microsoft.com/office/drawing/2010/diagram" id="0" name="" descr="Docteur utilisant une tablette numérique dans un couloir d’hôpital"/>
        </a:ext>
      </dgm:extLst>
    </dgm:pt>
    <dgm:pt modelId="{701675BD-9CB4-4207-9086-136ED0A7226E}" type="pres">
      <dgm:prSet presAssocID="{C1E51F19-9EB4-4BFA-9965-31A70CF860D2}" presName="spaceRect" presStyleCnt="0"/>
      <dgm:spPr/>
    </dgm:pt>
    <dgm:pt modelId="{49798EB1-FC90-4757-94C7-B1833DF5E1FC}" type="pres">
      <dgm:prSet presAssocID="{C1E51F19-9EB4-4BFA-9965-31A70CF860D2}" presName="textRect" presStyleLbl="revTx" presStyleIdx="1" presStyleCnt="2">
        <dgm:presLayoutVars>
          <dgm:chMax val="1"/>
          <dgm:chPref val="1"/>
        </dgm:presLayoutVars>
      </dgm:prSet>
      <dgm:spPr/>
    </dgm:pt>
  </dgm:ptLst>
  <dgm:cxnLst>
    <dgm:cxn modelId="{A25F8523-40B1-47DB-8627-56E8B6BBAFEE}" type="presOf" srcId="{C1E51F19-9EB4-4BFA-9965-31A70CF860D2}" destId="{49798EB1-FC90-4757-94C7-B1833DF5E1FC}" srcOrd="0" destOrd="0" presId="urn:microsoft.com/office/officeart/2018/2/layout/IconLabelList"/>
    <dgm:cxn modelId="{B02DAE81-278C-4C87-851D-4AB83F77BA19}" srcId="{2CCA5B7E-21A6-4DC3-AEB6-73C0341295A9}" destId="{E795DB93-7A97-450F-98F4-ED1E9136DB97}" srcOrd="0" destOrd="0" parTransId="{5B8FA836-B932-461E-8FB8-E5B80EA0822F}" sibTransId="{A1C8728D-DD21-4CAC-83E7-6F49F6B34D00}"/>
    <dgm:cxn modelId="{6C5E4B9F-D674-45F3-AA7C-E485FF4F2786}" srcId="{2CCA5B7E-21A6-4DC3-AEB6-73C0341295A9}" destId="{C1E51F19-9EB4-4BFA-9965-31A70CF860D2}" srcOrd="1" destOrd="0" parTransId="{4B84D0E7-894C-4089-9E92-AB79AF63F277}" sibTransId="{B70D632C-0E88-46DE-AEEF-23B4995490BB}"/>
    <dgm:cxn modelId="{DAE7ABDC-1BC6-4E9B-9D0E-44F6166AF3D3}" type="presOf" srcId="{E795DB93-7A97-450F-98F4-ED1E9136DB97}" destId="{8CFEC6EC-C75B-4D5F-BF78-3A7B6AC37F8F}" srcOrd="0" destOrd="0" presId="urn:microsoft.com/office/officeart/2018/2/layout/IconLabelList"/>
    <dgm:cxn modelId="{DE1808F8-0DF3-4D2C-88AB-8EA1546BE934}" type="presOf" srcId="{2CCA5B7E-21A6-4DC3-AEB6-73C0341295A9}" destId="{1E55ED33-0951-4B2B-A3D5-5EFB734522D4}" srcOrd="0" destOrd="0" presId="urn:microsoft.com/office/officeart/2018/2/layout/IconLabelList"/>
    <dgm:cxn modelId="{60D5292A-C524-4DF4-AADE-B3151894724B}" type="presParOf" srcId="{1E55ED33-0951-4B2B-A3D5-5EFB734522D4}" destId="{E9491E1C-A07B-4BE9-9851-80ED2972F1A5}" srcOrd="0" destOrd="0" presId="urn:microsoft.com/office/officeart/2018/2/layout/IconLabelList"/>
    <dgm:cxn modelId="{0EA62072-EA38-4239-94A6-127C11AD6FD9}" type="presParOf" srcId="{E9491E1C-A07B-4BE9-9851-80ED2972F1A5}" destId="{66A3DAA9-DB59-4706-A27B-466FAABE7F09}" srcOrd="0" destOrd="0" presId="urn:microsoft.com/office/officeart/2018/2/layout/IconLabelList"/>
    <dgm:cxn modelId="{AE2ECE8F-1624-4790-A64F-1E3F702AA623}" type="presParOf" srcId="{E9491E1C-A07B-4BE9-9851-80ED2972F1A5}" destId="{C2CD11CD-23CA-4935-BF03-B26B488EAA20}" srcOrd="1" destOrd="0" presId="urn:microsoft.com/office/officeart/2018/2/layout/IconLabelList"/>
    <dgm:cxn modelId="{4C057801-5681-4B03-AE78-8BAD5089009A}" type="presParOf" srcId="{E9491E1C-A07B-4BE9-9851-80ED2972F1A5}" destId="{8CFEC6EC-C75B-4D5F-BF78-3A7B6AC37F8F}" srcOrd="2" destOrd="0" presId="urn:microsoft.com/office/officeart/2018/2/layout/IconLabelList"/>
    <dgm:cxn modelId="{A20AF26A-9EA8-4652-A8EE-4D0C4A5F920F}" type="presParOf" srcId="{1E55ED33-0951-4B2B-A3D5-5EFB734522D4}" destId="{A534A6A3-6FED-4FC9-93D3-56D82216C7D0}" srcOrd="1" destOrd="0" presId="urn:microsoft.com/office/officeart/2018/2/layout/IconLabelList"/>
    <dgm:cxn modelId="{3C602942-FA68-466C-915D-4C4FBC7BE76C}" type="presParOf" srcId="{1E55ED33-0951-4B2B-A3D5-5EFB734522D4}" destId="{1EEB9D7E-5DEB-40EC-8DD9-776DDE6FFF80}" srcOrd="2" destOrd="0" presId="urn:microsoft.com/office/officeart/2018/2/layout/IconLabelList"/>
    <dgm:cxn modelId="{88C31D1C-8E1C-42D7-A58D-A60E81EB67F0}" type="presParOf" srcId="{1EEB9D7E-5DEB-40EC-8DD9-776DDE6FFF80}" destId="{36F343E4-A148-4814-80CB-87DAED571C9A}" srcOrd="0" destOrd="0" presId="urn:microsoft.com/office/officeart/2018/2/layout/IconLabelList"/>
    <dgm:cxn modelId="{0F9226BA-3AA4-4CC7-B897-1F2FC89799B5}" type="presParOf" srcId="{1EEB9D7E-5DEB-40EC-8DD9-776DDE6FFF80}" destId="{701675BD-9CB4-4207-9086-136ED0A7226E}" srcOrd="1" destOrd="0" presId="urn:microsoft.com/office/officeart/2018/2/layout/IconLabelList"/>
    <dgm:cxn modelId="{6B92DCCB-BE64-4226-B3CB-5DE85D0F18C6}" type="presParOf" srcId="{1EEB9D7E-5DEB-40EC-8DD9-776DDE6FFF80}" destId="{49798EB1-FC90-4757-94C7-B1833DF5E1FC}"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9885DF3-89E9-4F90-87FE-B283EAC17638}" type="doc">
      <dgm:prSet loTypeId="urn:microsoft.com/office/officeart/2005/8/layout/balance1" loCatId="relationship" qsTypeId="urn:microsoft.com/office/officeart/2005/8/quickstyle/simple1" qsCatId="simple" csTypeId="urn:microsoft.com/office/officeart/2005/8/colors/colorful1" csCatId="colorful" phldr="1"/>
      <dgm:spPr/>
      <dgm:t>
        <a:bodyPr/>
        <a:lstStyle/>
        <a:p>
          <a:endParaRPr lang="fr-FR"/>
        </a:p>
      </dgm:t>
    </dgm:pt>
    <dgm:pt modelId="{536BF759-B0D9-48A2-B28D-545A4CBCFEB0}">
      <dgm:prSet phldrT="[Texte]"/>
      <dgm:spPr/>
      <dgm:t>
        <a:bodyPr/>
        <a:lstStyle/>
        <a:p>
          <a:r>
            <a:rPr lang="fr-FR" dirty="0"/>
            <a:t>Charges</a:t>
          </a:r>
        </a:p>
      </dgm:t>
    </dgm:pt>
    <dgm:pt modelId="{98B533BD-6700-4D5A-9DF6-79784A92F288}" type="parTrans" cxnId="{9FB429A1-3107-441E-8B3B-E0D97972CC97}">
      <dgm:prSet/>
      <dgm:spPr/>
      <dgm:t>
        <a:bodyPr/>
        <a:lstStyle/>
        <a:p>
          <a:endParaRPr lang="fr-FR"/>
        </a:p>
      </dgm:t>
    </dgm:pt>
    <dgm:pt modelId="{1DD24B6D-C8C7-4778-AC32-C9020328CC0B}" type="sibTrans" cxnId="{9FB429A1-3107-441E-8B3B-E0D97972CC97}">
      <dgm:prSet/>
      <dgm:spPr/>
      <dgm:t>
        <a:bodyPr/>
        <a:lstStyle/>
        <a:p>
          <a:endParaRPr lang="fr-FR"/>
        </a:p>
      </dgm:t>
    </dgm:pt>
    <dgm:pt modelId="{8C2CAF31-AAF2-42D5-8E0F-AD35C2862DDE}">
      <dgm:prSet phldrT="[Texte]"/>
      <dgm:spPr/>
      <dgm:t>
        <a:bodyPr/>
        <a:lstStyle/>
        <a:p>
          <a:r>
            <a:rPr lang="fr-FR" dirty="0"/>
            <a:t>Service</a:t>
          </a:r>
        </a:p>
      </dgm:t>
    </dgm:pt>
    <dgm:pt modelId="{B3EBA674-F8FB-475A-B58A-9CDA62A1D230}" type="parTrans" cxnId="{850D8A13-C104-4EFC-9560-483F0AA701F6}">
      <dgm:prSet/>
      <dgm:spPr/>
      <dgm:t>
        <a:bodyPr/>
        <a:lstStyle/>
        <a:p>
          <a:endParaRPr lang="fr-FR"/>
        </a:p>
      </dgm:t>
    </dgm:pt>
    <dgm:pt modelId="{5B68D274-3BAB-45E8-B763-3DD580BE8F3F}" type="sibTrans" cxnId="{850D8A13-C104-4EFC-9560-483F0AA701F6}">
      <dgm:prSet/>
      <dgm:spPr/>
      <dgm:t>
        <a:bodyPr/>
        <a:lstStyle/>
        <a:p>
          <a:endParaRPr lang="fr-FR"/>
        </a:p>
      </dgm:t>
    </dgm:pt>
    <dgm:pt modelId="{FB757CFB-2339-4B48-AA97-F17D53527221}">
      <dgm:prSet phldrT="[Texte]"/>
      <dgm:spPr/>
      <dgm:t>
        <a:bodyPr/>
        <a:lstStyle/>
        <a:p>
          <a:r>
            <a:rPr lang="fr-FR" dirty="0"/>
            <a:t>Achats</a:t>
          </a:r>
        </a:p>
      </dgm:t>
    </dgm:pt>
    <dgm:pt modelId="{EDC3E105-D7E8-4D9B-9C12-D18106DA72F3}" type="parTrans" cxnId="{7E46632E-411A-44A9-98F4-F170F5CBE3E4}">
      <dgm:prSet/>
      <dgm:spPr/>
      <dgm:t>
        <a:bodyPr/>
        <a:lstStyle/>
        <a:p>
          <a:endParaRPr lang="fr-FR"/>
        </a:p>
      </dgm:t>
    </dgm:pt>
    <dgm:pt modelId="{60287263-56F7-4ABE-9873-006FAC138D4E}" type="sibTrans" cxnId="{7E46632E-411A-44A9-98F4-F170F5CBE3E4}">
      <dgm:prSet/>
      <dgm:spPr/>
      <dgm:t>
        <a:bodyPr/>
        <a:lstStyle/>
        <a:p>
          <a:endParaRPr lang="fr-FR"/>
        </a:p>
      </dgm:t>
    </dgm:pt>
    <dgm:pt modelId="{C7C5D4AF-F122-480F-B281-4BA7CACD0FE9}">
      <dgm:prSet phldrT="[Texte]"/>
      <dgm:spPr/>
      <dgm:t>
        <a:bodyPr/>
        <a:lstStyle/>
        <a:p>
          <a:r>
            <a:rPr lang="fr-FR" dirty="0"/>
            <a:t>Produits</a:t>
          </a:r>
        </a:p>
      </dgm:t>
    </dgm:pt>
    <dgm:pt modelId="{9DDEC470-C501-49DD-AE7A-4B0C558559D9}" type="parTrans" cxnId="{0BB191F1-BFAC-4F73-8432-8D902AE84A11}">
      <dgm:prSet/>
      <dgm:spPr/>
      <dgm:t>
        <a:bodyPr/>
        <a:lstStyle/>
        <a:p>
          <a:endParaRPr lang="fr-FR"/>
        </a:p>
      </dgm:t>
    </dgm:pt>
    <dgm:pt modelId="{4CB4E74D-6D37-4CC0-8436-A5680D296FEE}" type="sibTrans" cxnId="{0BB191F1-BFAC-4F73-8432-8D902AE84A11}">
      <dgm:prSet/>
      <dgm:spPr/>
      <dgm:t>
        <a:bodyPr/>
        <a:lstStyle/>
        <a:p>
          <a:endParaRPr lang="fr-FR"/>
        </a:p>
      </dgm:t>
    </dgm:pt>
    <dgm:pt modelId="{9CD16495-F3CB-4066-BAB2-4B0B34BB272A}">
      <dgm:prSet phldrT="[Texte]"/>
      <dgm:spPr/>
      <dgm:t>
        <a:bodyPr/>
        <a:lstStyle/>
        <a:p>
          <a:r>
            <a:rPr lang="fr-FR" dirty="0"/>
            <a:t>Produits exceptionnels</a:t>
          </a:r>
        </a:p>
      </dgm:t>
    </dgm:pt>
    <dgm:pt modelId="{4B234244-7017-4190-B895-CA54F3B704F5}" type="parTrans" cxnId="{9AF7B00B-1231-4358-B20C-166380AA67FB}">
      <dgm:prSet/>
      <dgm:spPr/>
      <dgm:t>
        <a:bodyPr/>
        <a:lstStyle/>
        <a:p>
          <a:endParaRPr lang="fr-FR"/>
        </a:p>
      </dgm:t>
    </dgm:pt>
    <dgm:pt modelId="{019423E4-76E5-4CFA-820B-F0BB846C4FE6}" type="sibTrans" cxnId="{9AF7B00B-1231-4358-B20C-166380AA67FB}">
      <dgm:prSet/>
      <dgm:spPr/>
      <dgm:t>
        <a:bodyPr/>
        <a:lstStyle/>
        <a:p>
          <a:endParaRPr lang="fr-FR"/>
        </a:p>
      </dgm:t>
    </dgm:pt>
    <dgm:pt modelId="{3A7163B6-2CB7-4EC9-B0D6-CFC1FE63E597}">
      <dgm:prSet phldrT="[Texte]"/>
      <dgm:spPr/>
      <dgm:t>
        <a:bodyPr/>
        <a:lstStyle/>
        <a:p>
          <a:r>
            <a:rPr lang="fr-FR" dirty="0"/>
            <a:t>CA annexe</a:t>
          </a:r>
        </a:p>
      </dgm:t>
    </dgm:pt>
    <dgm:pt modelId="{4AE90238-2D56-469F-9E74-B2B30D753630}" type="parTrans" cxnId="{DBEF6F46-5B96-49BA-AF6D-DA1248F811F8}">
      <dgm:prSet/>
      <dgm:spPr/>
      <dgm:t>
        <a:bodyPr/>
        <a:lstStyle/>
        <a:p>
          <a:endParaRPr lang="fr-FR"/>
        </a:p>
      </dgm:t>
    </dgm:pt>
    <dgm:pt modelId="{C45000DD-B18A-49F9-B698-7966D27B24AA}" type="sibTrans" cxnId="{DBEF6F46-5B96-49BA-AF6D-DA1248F811F8}">
      <dgm:prSet/>
      <dgm:spPr/>
      <dgm:t>
        <a:bodyPr/>
        <a:lstStyle/>
        <a:p>
          <a:endParaRPr lang="fr-FR"/>
        </a:p>
      </dgm:t>
    </dgm:pt>
    <dgm:pt modelId="{4D3D1958-0C09-440F-817C-0357202F1966}">
      <dgm:prSet phldrT="[Texte]"/>
      <dgm:spPr/>
      <dgm:t>
        <a:bodyPr/>
        <a:lstStyle/>
        <a:p>
          <a:r>
            <a:rPr lang="fr-FR" dirty="0"/>
            <a:t>CA</a:t>
          </a:r>
        </a:p>
      </dgm:t>
    </dgm:pt>
    <dgm:pt modelId="{F8B6EBCD-3309-45BF-95AF-9B842C0FF423}" type="parTrans" cxnId="{C027B6C3-BD20-447C-96E3-AA209B476494}">
      <dgm:prSet/>
      <dgm:spPr/>
      <dgm:t>
        <a:bodyPr/>
        <a:lstStyle/>
        <a:p>
          <a:endParaRPr lang="fr-FR"/>
        </a:p>
      </dgm:t>
    </dgm:pt>
    <dgm:pt modelId="{AD964AE9-8874-44C1-B80C-171E6DF363FA}" type="sibTrans" cxnId="{C027B6C3-BD20-447C-96E3-AA209B476494}">
      <dgm:prSet/>
      <dgm:spPr/>
      <dgm:t>
        <a:bodyPr/>
        <a:lstStyle/>
        <a:p>
          <a:endParaRPr lang="fr-FR"/>
        </a:p>
      </dgm:t>
    </dgm:pt>
    <dgm:pt modelId="{183A60F5-4F11-4186-A26D-976F2E07A5BE}" type="pres">
      <dgm:prSet presAssocID="{29885DF3-89E9-4F90-87FE-B283EAC17638}" presName="outerComposite" presStyleCnt="0">
        <dgm:presLayoutVars>
          <dgm:chMax val="2"/>
          <dgm:animLvl val="lvl"/>
          <dgm:resizeHandles val="exact"/>
        </dgm:presLayoutVars>
      </dgm:prSet>
      <dgm:spPr/>
    </dgm:pt>
    <dgm:pt modelId="{0047B920-FC40-4537-B79E-E77459572342}" type="pres">
      <dgm:prSet presAssocID="{29885DF3-89E9-4F90-87FE-B283EAC17638}" presName="dummyMaxCanvas" presStyleCnt="0"/>
      <dgm:spPr/>
    </dgm:pt>
    <dgm:pt modelId="{97D0144D-ED7C-4F7F-BFA4-F23796F0507B}" type="pres">
      <dgm:prSet presAssocID="{29885DF3-89E9-4F90-87FE-B283EAC17638}" presName="parentComposite" presStyleCnt="0"/>
      <dgm:spPr/>
    </dgm:pt>
    <dgm:pt modelId="{0AEE7A77-7406-4366-9AA4-D60B5DC38F70}" type="pres">
      <dgm:prSet presAssocID="{29885DF3-89E9-4F90-87FE-B283EAC17638}" presName="parent1" presStyleLbl="alignAccFollowNode1" presStyleIdx="0" presStyleCnt="4">
        <dgm:presLayoutVars>
          <dgm:chMax val="4"/>
        </dgm:presLayoutVars>
      </dgm:prSet>
      <dgm:spPr/>
    </dgm:pt>
    <dgm:pt modelId="{94CDDC10-5C70-453F-98D9-04E539E0D654}" type="pres">
      <dgm:prSet presAssocID="{29885DF3-89E9-4F90-87FE-B283EAC17638}" presName="parent2" presStyleLbl="alignAccFollowNode1" presStyleIdx="1" presStyleCnt="4">
        <dgm:presLayoutVars>
          <dgm:chMax val="4"/>
        </dgm:presLayoutVars>
      </dgm:prSet>
      <dgm:spPr/>
    </dgm:pt>
    <dgm:pt modelId="{3983F7DB-7489-4E8F-866E-4F0AC7E00720}" type="pres">
      <dgm:prSet presAssocID="{29885DF3-89E9-4F90-87FE-B283EAC17638}" presName="childrenComposite" presStyleCnt="0"/>
      <dgm:spPr/>
    </dgm:pt>
    <dgm:pt modelId="{5AA51666-5251-4049-B1D3-D1984D626C7D}" type="pres">
      <dgm:prSet presAssocID="{29885DF3-89E9-4F90-87FE-B283EAC17638}" presName="dummyMaxCanvas_ChildArea" presStyleCnt="0"/>
      <dgm:spPr/>
    </dgm:pt>
    <dgm:pt modelId="{EBFDB432-175A-4865-B005-5FD02B286222}" type="pres">
      <dgm:prSet presAssocID="{29885DF3-89E9-4F90-87FE-B283EAC17638}" presName="fulcrum" presStyleLbl="alignAccFollowNode1" presStyleIdx="2" presStyleCnt="4"/>
      <dgm:spPr/>
    </dgm:pt>
    <dgm:pt modelId="{16F620F7-A06F-4C1F-8D5B-3FAA892E0391}" type="pres">
      <dgm:prSet presAssocID="{29885DF3-89E9-4F90-87FE-B283EAC17638}" presName="balance_23" presStyleLbl="alignAccFollowNode1" presStyleIdx="3" presStyleCnt="4">
        <dgm:presLayoutVars>
          <dgm:bulletEnabled val="1"/>
        </dgm:presLayoutVars>
      </dgm:prSet>
      <dgm:spPr/>
    </dgm:pt>
    <dgm:pt modelId="{A2C00E85-01BE-456D-B3C2-8F6F44B67E5D}" type="pres">
      <dgm:prSet presAssocID="{29885DF3-89E9-4F90-87FE-B283EAC17638}" presName="right_23_1" presStyleLbl="node1" presStyleIdx="0" presStyleCnt="5">
        <dgm:presLayoutVars>
          <dgm:bulletEnabled val="1"/>
        </dgm:presLayoutVars>
      </dgm:prSet>
      <dgm:spPr/>
    </dgm:pt>
    <dgm:pt modelId="{9F9EB647-3380-4E36-B0C6-D8080DB6DC3C}" type="pres">
      <dgm:prSet presAssocID="{29885DF3-89E9-4F90-87FE-B283EAC17638}" presName="right_23_2" presStyleLbl="node1" presStyleIdx="1" presStyleCnt="5">
        <dgm:presLayoutVars>
          <dgm:bulletEnabled val="1"/>
        </dgm:presLayoutVars>
      </dgm:prSet>
      <dgm:spPr/>
    </dgm:pt>
    <dgm:pt modelId="{A13A5796-10DD-4F3F-97B1-E3CAF6B089F4}" type="pres">
      <dgm:prSet presAssocID="{29885DF3-89E9-4F90-87FE-B283EAC17638}" presName="right_23_3" presStyleLbl="node1" presStyleIdx="2" presStyleCnt="5">
        <dgm:presLayoutVars>
          <dgm:bulletEnabled val="1"/>
        </dgm:presLayoutVars>
      </dgm:prSet>
      <dgm:spPr/>
    </dgm:pt>
    <dgm:pt modelId="{7CD2F022-9C82-412D-BF75-7057A8E32AFF}" type="pres">
      <dgm:prSet presAssocID="{29885DF3-89E9-4F90-87FE-B283EAC17638}" presName="left_23_1" presStyleLbl="node1" presStyleIdx="3" presStyleCnt="5">
        <dgm:presLayoutVars>
          <dgm:bulletEnabled val="1"/>
        </dgm:presLayoutVars>
      </dgm:prSet>
      <dgm:spPr/>
    </dgm:pt>
    <dgm:pt modelId="{18DC63FE-69FA-491E-8752-94E01F264C5E}" type="pres">
      <dgm:prSet presAssocID="{29885DF3-89E9-4F90-87FE-B283EAC17638}" presName="left_23_2" presStyleLbl="node1" presStyleIdx="4" presStyleCnt="5">
        <dgm:presLayoutVars>
          <dgm:bulletEnabled val="1"/>
        </dgm:presLayoutVars>
      </dgm:prSet>
      <dgm:spPr/>
    </dgm:pt>
  </dgm:ptLst>
  <dgm:cxnLst>
    <dgm:cxn modelId="{4B967304-A73F-43D0-BA2B-AEFBABFD797D}" type="presOf" srcId="{FB757CFB-2339-4B48-AA97-F17D53527221}" destId="{18DC63FE-69FA-491E-8752-94E01F264C5E}" srcOrd="0" destOrd="0" presId="urn:microsoft.com/office/officeart/2005/8/layout/balance1"/>
    <dgm:cxn modelId="{5E93FE09-79C6-43A6-AD94-7D96A12AB4CB}" type="presOf" srcId="{4D3D1958-0C09-440F-817C-0357202F1966}" destId="{A13A5796-10DD-4F3F-97B1-E3CAF6B089F4}" srcOrd="0" destOrd="0" presId="urn:microsoft.com/office/officeart/2005/8/layout/balance1"/>
    <dgm:cxn modelId="{9AF7B00B-1231-4358-B20C-166380AA67FB}" srcId="{C7C5D4AF-F122-480F-B281-4BA7CACD0FE9}" destId="{9CD16495-F3CB-4066-BAB2-4B0B34BB272A}" srcOrd="0" destOrd="0" parTransId="{4B234244-7017-4190-B895-CA54F3B704F5}" sibTransId="{019423E4-76E5-4CFA-820B-F0BB846C4FE6}"/>
    <dgm:cxn modelId="{850D8A13-C104-4EFC-9560-483F0AA701F6}" srcId="{536BF759-B0D9-48A2-B28D-545A4CBCFEB0}" destId="{8C2CAF31-AAF2-42D5-8E0F-AD35C2862DDE}" srcOrd="0" destOrd="0" parTransId="{B3EBA674-F8FB-475A-B58A-9CDA62A1D230}" sibTransId="{5B68D274-3BAB-45E8-B763-3DD580BE8F3F}"/>
    <dgm:cxn modelId="{BAADB91C-1082-4725-8678-8DB0F575A682}" type="presOf" srcId="{8C2CAF31-AAF2-42D5-8E0F-AD35C2862DDE}" destId="{7CD2F022-9C82-412D-BF75-7057A8E32AFF}" srcOrd="0" destOrd="0" presId="urn:microsoft.com/office/officeart/2005/8/layout/balance1"/>
    <dgm:cxn modelId="{7E46632E-411A-44A9-98F4-F170F5CBE3E4}" srcId="{536BF759-B0D9-48A2-B28D-545A4CBCFEB0}" destId="{FB757CFB-2339-4B48-AA97-F17D53527221}" srcOrd="1" destOrd="0" parTransId="{EDC3E105-D7E8-4D9B-9C12-D18106DA72F3}" sibTransId="{60287263-56F7-4ABE-9873-006FAC138D4E}"/>
    <dgm:cxn modelId="{6C21D236-2C14-41FC-AB87-877C9816B911}" type="presOf" srcId="{C7C5D4AF-F122-480F-B281-4BA7CACD0FE9}" destId="{94CDDC10-5C70-453F-98D9-04E539E0D654}" srcOrd="0" destOrd="0" presId="urn:microsoft.com/office/officeart/2005/8/layout/balance1"/>
    <dgm:cxn modelId="{DBEF6F46-5B96-49BA-AF6D-DA1248F811F8}" srcId="{C7C5D4AF-F122-480F-B281-4BA7CACD0FE9}" destId="{3A7163B6-2CB7-4EC9-B0D6-CFC1FE63E597}" srcOrd="1" destOrd="0" parTransId="{4AE90238-2D56-469F-9E74-B2B30D753630}" sibTransId="{C45000DD-B18A-49F9-B698-7966D27B24AA}"/>
    <dgm:cxn modelId="{B708096F-FDF1-4CCC-B351-50BADAA0DE61}" type="presOf" srcId="{9CD16495-F3CB-4066-BAB2-4B0B34BB272A}" destId="{A2C00E85-01BE-456D-B3C2-8F6F44B67E5D}" srcOrd="0" destOrd="0" presId="urn:microsoft.com/office/officeart/2005/8/layout/balance1"/>
    <dgm:cxn modelId="{275AF24F-E6A2-4D8C-9266-416D39186F1F}" type="presOf" srcId="{536BF759-B0D9-48A2-B28D-545A4CBCFEB0}" destId="{0AEE7A77-7406-4366-9AA4-D60B5DC38F70}" srcOrd="0" destOrd="0" presId="urn:microsoft.com/office/officeart/2005/8/layout/balance1"/>
    <dgm:cxn modelId="{9FB429A1-3107-441E-8B3B-E0D97972CC97}" srcId="{29885DF3-89E9-4F90-87FE-B283EAC17638}" destId="{536BF759-B0D9-48A2-B28D-545A4CBCFEB0}" srcOrd="0" destOrd="0" parTransId="{98B533BD-6700-4D5A-9DF6-79784A92F288}" sibTransId="{1DD24B6D-C8C7-4778-AC32-C9020328CC0B}"/>
    <dgm:cxn modelId="{CC2C39AB-25BF-40E4-8C7A-CCC92A7CA010}" type="presOf" srcId="{3A7163B6-2CB7-4EC9-B0D6-CFC1FE63E597}" destId="{9F9EB647-3380-4E36-B0C6-D8080DB6DC3C}" srcOrd="0" destOrd="0" presId="urn:microsoft.com/office/officeart/2005/8/layout/balance1"/>
    <dgm:cxn modelId="{701742AE-68D3-4E80-914A-AC4400E90066}" type="presOf" srcId="{29885DF3-89E9-4F90-87FE-B283EAC17638}" destId="{183A60F5-4F11-4186-A26D-976F2E07A5BE}" srcOrd="0" destOrd="0" presId="urn:microsoft.com/office/officeart/2005/8/layout/balance1"/>
    <dgm:cxn modelId="{C027B6C3-BD20-447C-96E3-AA209B476494}" srcId="{C7C5D4AF-F122-480F-B281-4BA7CACD0FE9}" destId="{4D3D1958-0C09-440F-817C-0357202F1966}" srcOrd="2" destOrd="0" parTransId="{F8B6EBCD-3309-45BF-95AF-9B842C0FF423}" sibTransId="{AD964AE9-8874-44C1-B80C-171E6DF363FA}"/>
    <dgm:cxn modelId="{0BB191F1-BFAC-4F73-8432-8D902AE84A11}" srcId="{29885DF3-89E9-4F90-87FE-B283EAC17638}" destId="{C7C5D4AF-F122-480F-B281-4BA7CACD0FE9}" srcOrd="1" destOrd="0" parTransId="{9DDEC470-C501-49DD-AE7A-4B0C558559D9}" sibTransId="{4CB4E74D-6D37-4CC0-8436-A5680D296FEE}"/>
    <dgm:cxn modelId="{6FDC40A4-336A-4527-966D-AFE73E98F224}" type="presParOf" srcId="{183A60F5-4F11-4186-A26D-976F2E07A5BE}" destId="{0047B920-FC40-4537-B79E-E77459572342}" srcOrd="0" destOrd="0" presId="urn:microsoft.com/office/officeart/2005/8/layout/balance1"/>
    <dgm:cxn modelId="{40774D87-46BD-4143-AD62-31B4B1D6293B}" type="presParOf" srcId="{183A60F5-4F11-4186-A26D-976F2E07A5BE}" destId="{97D0144D-ED7C-4F7F-BFA4-F23796F0507B}" srcOrd="1" destOrd="0" presId="urn:microsoft.com/office/officeart/2005/8/layout/balance1"/>
    <dgm:cxn modelId="{00CD79DE-4D51-4ABB-980B-EB7C6750F41D}" type="presParOf" srcId="{97D0144D-ED7C-4F7F-BFA4-F23796F0507B}" destId="{0AEE7A77-7406-4366-9AA4-D60B5DC38F70}" srcOrd="0" destOrd="0" presId="urn:microsoft.com/office/officeart/2005/8/layout/balance1"/>
    <dgm:cxn modelId="{33C3E382-A1A8-4EF2-BF9E-D2B0706BD70A}" type="presParOf" srcId="{97D0144D-ED7C-4F7F-BFA4-F23796F0507B}" destId="{94CDDC10-5C70-453F-98D9-04E539E0D654}" srcOrd="1" destOrd="0" presId="urn:microsoft.com/office/officeart/2005/8/layout/balance1"/>
    <dgm:cxn modelId="{0E391A11-7A1C-40C3-B2AB-957B6DEEDA04}" type="presParOf" srcId="{183A60F5-4F11-4186-A26D-976F2E07A5BE}" destId="{3983F7DB-7489-4E8F-866E-4F0AC7E00720}" srcOrd="2" destOrd="0" presId="urn:microsoft.com/office/officeart/2005/8/layout/balance1"/>
    <dgm:cxn modelId="{D49FF683-BF1E-4863-88B1-F4ADD82B85EE}" type="presParOf" srcId="{3983F7DB-7489-4E8F-866E-4F0AC7E00720}" destId="{5AA51666-5251-4049-B1D3-D1984D626C7D}" srcOrd="0" destOrd="0" presId="urn:microsoft.com/office/officeart/2005/8/layout/balance1"/>
    <dgm:cxn modelId="{329C7CCC-4D4B-44A0-897A-7EB03C52881D}" type="presParOf" srcId="{3983F7DB-7489-4E8F-866E-4F0AC7E00720}" destId="{EBFDB432-175A-4865-B005-5FD02B286222}" srcOrd="1" destOrd="0" presId="urn:microsoft.com/office/officeart/2005/8/layout/balance1"/>
    <dgm:cxn modelId="{3CF0793F-5EDD-4A61-8640-55414A153C10}" type="presParOf" srcId="{3983F7DB-7489-4E8F-866E-4F0AC7E00720}" destId="{16F620F7-A06F-4C1F-8D5B-3FAA892E0391}" srcOrd="2" destOrd="0" presId="urn:microsoft.com/office/officeart/2005/8/layout/balance1"/>
    <dgm:cxn modelId="{371650F7-73C0-460C-A6C3-8C1B28495776}" type="presParOf" srcId="{3983F7DB-7489-4E8F-866E-4F0AC7E00720}" destId="{A2C00E85-01BE-456D-B3C2-8F6F44B67E5D}" srcOrd="3" destOrd="0" presId="urn:microsoft.com/office/officeart/2005/8/layout/balance1"/>
    <dgm:cxn modelId="{6D0ACFF0-6964-408F-A98B-F3E79BCA0D2B}" type="presParOf" srcId="{3983F7DB-7489-4E8F-866E-4F0AC7E00720}" destId="{9F9EB647-3380-4E36-B0C6-D8080DB6DC3C}" srcOrd="4" destOrd="0" presId="urn:microsoft.com/office/officeart/2005/8/layout/balance1"/>
    <dgm:cxn modelId="{27F3AAB1-8380-4E01-8657-767F3FDF2592}" type="presParOf" srcId="{3983F7DB-7489-4E8F-866E-4F0AC7E00720}" destId="{A13A5796-10DD-4F3F-97B1-E3CAF6B089F4}" srcOrd="5" destOrd="0" presId="urn:microsoft.com/office/officeart/2005/8/layout/balance1"/>
    <dgm:cxn modelId="{5971FE69-2FFF-4C00-8A27-BC233774CC75}" type="presParOf" srcId="{3983F7DB-7489-4E8F-866E-4F0AC7E00720}" destId="{7CD2F022-9C82-412D-BF75-7057A8E32AFF}" srcOrd="6" destOrd="0" presId="urn:microsoft.com/office/officeart/2005/8/layout/balance1"/>
    <dgm:cxn modelId="{DB26EACE-A345-4AAE-8F1A-591354690547}" type="presParOf" srcId="{3983F7DB-7489-4E8F-866E-4F0AC7E00720}" destId="{18DC63FE-69FA-491E-8752-94E01F264C5E}" srcOrd="7" destOrd="0" presId="urn:microsoft.com/office/officeart/2005/8/layout/balanc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9885DF3-89E9-4F90-87FE-B283EAC17638}" type="doc">
      <dgm:prSet loTypeId="urn:microsoft.com/office/officeart/2018/5/layout/CenteredIconLabelDescriptionList" loCatId="icon" qsTypeId="urn:microsoft.com/office/officeart/2005/8/quickstyle/simple1" qsCatId="simple" csTypeId="urn:microsoft.com/office/officeart/2018/5/colors/Iconchunking_neutralbg_accent2_2" csCatId="accent2" phldr="1"/>
      <dgm:spPr/>
      <dgm:t>
        <a:bodyPr/>
        <a:lstStyle/>
        <a:p>
          <a:endParaRPr lang="fr-FR"/>
        </a:p>
      </dgm:t>
    </dgm:pt>
    <dgm:pt modelId="{536BF759-B0D9-48A2-B28D-545A4CBCFEB0}">
      <dgm:prSet phldrT="[Texte]"/>
      <dgm:spPr/>
      <dgm:t>
        <a:bodyPr/>
        <a:lstStyle/>
        <a:p>
          <a:pPr>
            <a:lnSpc>
              <a:spcPct val="100000"/>
            </a:lnSpc>
            <a:defRPr b="1"/>
          </a:pPr>
          <a:r>
            <a:rPr lang="fr-FR"/>
            <a:t>Charges</a:t>
          </a:r>
        </a:p>
      </dgm:t>
    </dgm:pt>
    <dgm:pt modelId="{98B533BD-6700-4D5A-9DF6-79784A92F288}" type="parTrans" cxnId="{9FB429A1-3107-441E-8B3B-E0D97972CC97}">
      <dgm:prSet/>
      <dgm:spPr/>
      <dgm:t>
        <a:bodyPr/>
        <a:lstStyle/>
        <a:p>
          <a:endParaRPr lang="fr-FR"/>
        </a:p>
      </dgm:t>
    </dgm:pt>
    <dgm:pt modelId="{1DD24B6D-C8C7-4778-AC32-C9020328CC0B}" type="sibTrans" cxnId="{9FB429A1-3107-441E-8B3B-E0D97972CC97}">
      <dgm:prSet/>
      <dgm:spPr/>
      <dgm:t>
        <a:bodyPr/>
        <a:lstStyle/>
        <a:p>
          <a:endParaRPr lang="fr-FR"/>
        </a:p>
      </dgm:t>
    </dgm:pt>
    <dgm:pt modelId="{8C2CAF31-AAF2-42D5-8E0F-AD35C2862DDE}">
      <dgm:prSet phldrT="[Texte]"/>
      <dgm:spPr/>
      <dgm:t>
        <a:bodyPr/>
        <a:lstStyle/>
        <a:p>
          <a:pPr>
            <a:lnSpc>
              <a:spcPct val="100000"/>
            </a:lnSpc>
          </a:pPr>
          <a:r>
            <a:rPr lang="fr-FR" dirty="0"/>
            <a:t>Service</a:t>
          </a:r>
        </a:p>
      </dgm:t>
    </dgm:pt>
    <dgm:pt modelId="{B3EBA674-F8FB-475A-B58A-9CDA62A1D230}" type="parTrans" cxnId="{850D8A13-C104-4EFC-9560-483F0AA701F6}">
      <dgm:prSet/>
      <dgm:spPr/>
      <dgm:t>
        <a:bodyPr/>
        <a:lstStyle/>
        <a:p>
          <a:endParaRPr lang="fr-FR"/>
        </a:p>
      </dgm:t>
    </dgm:pt>
    <dgm:pt modelId="{5B68D274-3BAB-45E8-B763-3DD580BE8F3F}" type="sibTrans" cxnId="{850D8A13-C104-4EFC-9560-483F0AA701F6}">
      <dgm:prSet/>
      <dgm:spPr/>
      <dgm:t>
        <a:bodyPr/>
        <a:lstStyle/>
        <a:p>
          <a:endParaRPr lang="fr-FR"/>
        </a:p>
      </dgm:t>
    </dgm:pt>
    <dgm:pt modelId="{FB757CFB-2339-4B48-AA97-F17D53527221}">
      <dgm:prSet phldrT="[Texte]"/>
      <dgm:spPr/>
      <dgm:t>
        <a:bodyPr/>
        <a:lstStyle/>
        <a:p>
          <a:pPr>
            <a:lnSpc>
              <a:spcPct val="100000"/>
            </a:lnSpc>
          </a:pPr>
          <a:r>
            <a:rPr lang="fr-FR" dirty="0"/>
            <a:t>Achats</a:t>
          </a:r>
        </a:p>
      </dgm:t>
    </dgm:pt>
    <dgm:pt modelId="{EDC3E105-D7E8-4D9B-9C12-D18106DA72F3}" type="parTrans" cxnId="{7E46632E-411A-44A9-98F4-F170F5CBE3E4}">
      <dgm:prSet/>
      <dgm:spPr/>
      <dgm:t>
        <a:bodyPr/>
        <a:lstStyle/>
        <a:p>
          <a:endParaRPr lang="fr-FR"/>
        </a:p>
      </dgm:t>
    </dgm:pt>
    <dgm:pt modelId="{60287263-56F7-4ABE-9873-006FAC138D4E}" type="sibTrans" cxnId="{7E46632E-411A-44A9-98F4-F170F5CBE3E4}">
      <dgm:prSet/>
      <dgm:spPr/>
      <dgm:t>
        <a:bodyPr/>
        <a:lstStyle/>
        <a:p>
          <a:endParaRPr lang="fr-FR"/>
        </a:p>
      </dgm:t>
    </dgm:pt>
    <dgm:pt modelId="{C7C5D4AF-F122-480F-B281-4BA7CACD0FE9}">
      <dgm:prSet phldrT="[Texte]"/>
      <dgm:spPr/>
      <dgm:t>
        <a:bodyPr/>
        <a:lstStyle/>
        <a:p>
          <a:pPr>
            <a:lnSpc>
              <a:spcPct val="100000"/>
            </a:lnSpc>
            <a:defRPr b="1"/>
          </a:pPr>
          <a:r>
            <a:rPr lang="fr-FR"/>
            <a:t>Produits</a:t>
          </a:r>
        </a:p>
      </dgm:t>
    </dgm:pt>
    <dgm:pt modelId="{9DDEC470-C501-49DD-AE7A-4B0C558559D9}" type="parTrans" cxnId="{0BB191F1-BFAC-4F73-8432-8D902AE84A11}">
      <dgm:prSet/>
      <dgm:spPr/>
      <dgm:t>
        <a:bodyPr/>
        <a:lstStyle/>
        <a:p>
          <a:endParaRPr lang="fr-FR"/>
        </a:p>
      </dgm:t>
    </dgm:pt>
    <dgm:pt modelId="{4CB4E74D-6D37-4CC0-8436-A5680D296FEE}" type="sibTrans" cxnId="{0BB191F1-BFAC-4F73-8432-8D902AE84A11}">
      <dgm:prSet/>
      <dgm:spPr/>
      <dgm:t>
        <a:bodyPr/>
        <a:lstStyle/>
        <a:p>
          <a:endParaRPr lang="fr-FR"/>
        </a:p>
      </dgm:t>
    </dgm:pt>
    <dgm:pt modelId="{9CD16495-F3CB-4066-BAB2-4B0B34BB272A}">
      <dgm:prSet phldrT="[Texte]"/>
      <dgm:spPr/>
      <dgm:t>
        <a:bodyPr/>
        <a:lstStyle/>
        <a:p>
          <a:pPr>
            <a:lnSpc>
              <a:spcPct val="100000"/>
            </a:lnSpc>
          </a:pPr>
          <a:r>
            <a:rPr lang="fr-FR" dirty="0"/>
            <a:t>Produits exceptionnels</a:t>
          </a:r>
        </a:p>
      </dgm:t>
    </dgm:pt>
    <dgm:pt modelId="{4B234244-7017-4190-B895-CA54F3B704F5}" type="parTrans" cxnId="{9AF7B00B-1231-4358-B20C-166380AA67FB}">
      <dgm:prSet/>
      <dgm:spPr/>
      <dgm:t>
        <a:bodyPr/>
        <a:lstStyle/>
        <a:p>
          <a:endParaRPr lang="fr-FR"/>
        </a:p>
      </dgm:t>
    </dgm:pt>
    <dgm:pt modelId="{019423E4-76E5-4CFA-820B-F0BB846C4FE6}" type="sibTrans" cxnId="{9AF7B00B-1231-4358-B20C-166380AA67FB}">
      <dgm:prSet/>
      <dgm:spPr/>
      <dgm:t>
        <a:bodyPr/>
        <a:lstStyle/>
        <a:p>
          <a:endParaRPr lang="fr-FR"/>
        </a:p>
      </dgm:t>
    </dgm:pt>
    <dgm:pt modelId="{3A7163B6-2CB7-4EC9-B0D6-CFC1FE63E597}">
      <dgm:prSet phldrT="[Texte]"/>
      <dgm:spPr/>
      <dgm:t>
        <a:bodyPr/>
        <a:lstStyle/>
        <a:p>
          <a:pPr>
            <a:lnSpc>
              <a:spcPct val="100000"/>
            </a:lnSpc>
          </a:pPr>
          <a:r>
            <a:rPr lang="fr-FR" dirty="0"/>
            <a:t>CA annexe</a:t>
          </a:r>
        </a:p>
      </dgm:t>
    </dgm:pt>
    <dgm:pt modelId="{4AE90238-2D56-469F-9E74-B2B30D753630}" type="parTrans" cxnId="{DBEF6F46-5B96-49BA-AF6D-DA1248F811F8}">
      <dgm:prSet/>
      <dgm:spPr/>
      <dgm:t>
        <a:bodyPr/>
        <a:lstStyle/>
        <a:p>
          <a:endParaRPr lang="fr-FR"/>
        </a:p>
      </dgm:t>
    </dgm:pt>
    <dgm:pt modelId="{C45000DD-B18A-49F9-B698-7966D27B24AA}" type="sibTrans" cxnId="{DBEF6F46-5B96-49BA-AF6D-DA1248F811F8}">
      <dgm:prSet/>
      <dgm:spPr/>
      <dgm:t>
        <a:bodyPr/>
        <a:lstStyle/>
        <a:p>
          <a:endParaRPr lang="fr-FR"/>
        </a:p>
      </dgm:t>
    </dgm:pt>
    <dgm:pt modelId="{4D3D1958-0C09-440F-817C-0357202F1966}">
      <dgm:prSet phldrT="[Texte]"/>
      <dgm:spPr/>
      <dgm:t>
        <a:bodyPr/>
        <a:lstStyle/>
        <a:p>
          <a:pPr>
            <a:lnSpc>
              <a:spcPct val="100000"/>
            </a:lnSpc>
          </a:pPr>
          <a:r>
            <a:rPr lang="fr-FR" dirty="0"/>
            <a:t>CA</a:t>
          </a:r>
        </a:p>
      </dgm:t>
    </dgm:pt>
    <dgm:pt modelId="{F8B6EBCD-3309-45BF-95AF-9B842C0FF423}" type="parTrans" cxnId="{C027B6C3-BD20-447C-96E3-AA209B476494}">
      <dgm:prSet/>
      <dgm:spPr/>
      <dgm:t>
        <a:bodyPr/>
        <a:lstStyle/>
        <a:p>
          <a:endParaRPr lang="fr-FR"/>
        </a:p>
      </dgm:t>
    </dgm:pt>
    <dgm:pt modelId="{AD964AE9-8874-44C1-B80C-171E6DF363FA}" type="sibTrans" cxnId="{C027B6C3-BD20-447C-96E3-AA209B476494}">
      <dgm:prSet/>
      <dgm:spPr/>
      <dgm:t>
        <a:bodyPr/>
        <a:lstStyle/>
        <a:p>
          <a:endParaRPr lang="fr-FR"/>
        </a:p>
      </dgm:t>
    </dgm:pt>
    <dgm:pt modelId="{FADC612E-7A36-4C56-A2D9-2EFFFC438B80}" type="pres">
      <dgm:prSet presAssocID="{29885DF3-89E9-4F90-87FE-B283EAC17638}" presName="root" presStyleCnt="0">
        <dgm:presLayoutVars>
          <dgm:dir/>
          <dgm:resizeHandles val="exact"/>
        </dgm:presLayoutVars>
      </dgm:prSet>
      <dgm:spPr/>
    </dgm:pt>
    <dgm:pt modelId="{AAEB5B11-3229-4D4C-B40F-0EACC05D964B}" type="pres">
      <dgm:prSet presAssocID="{536BF759-B0D9-48A2-B28D-545A4CBCFEB0}" presName="compNode" presStyleCnt="0"/>
      <dgm:spPr/>
    </dgm:pt>
    <dgm:pt modelId="{B8DDD673-5AC0-4173-AEF5-8A89809B2B93}" type="pres">
      <dgm:prSet presAssocID="{536BF759-B0D9-48A2-B28D-545A4CBCFEB0}"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hopping cart"/>
        </a:ext>
      </dgm:extLst>
    </dgm:pt>
    <dgm:pt modelId="{1E9994C8-E922-42D3-9C39-918272D4B316}" type="pres">
      <dgm:prSet presAssocID="{536BF759-B0D9-48A2-B28D-545A4CBCFEB0}" presName="iconSpace" presStyleCnt="0"/>
      <dgm:spPr/>
    </dgm:pt>
    <dgm:pt modelId="{0A57616E-3408-46FD-81EA-150FA493C34C}" type="pres">
      <dgm:prSet presAssocID="{536BF759-B0D9-48A2-B28D-545A4CBCFEB0}" presName="parTx" presStyleLbl="revTx" presStyleIdx="0" presStyleCnt="4">
        <dgm:presLayoutVars>
          <dgm:chMax val="0"/>
          <dgm:chPref val="0"/>
        </dgm:presLayoutVars>
      </dgm:prSet>
      <dgm:spPr/>
    </dgm:pt>
    <dgm:pt modelId="{DE882A25-6573-4BE0-85FE-D7D6915299D0}" type="pres">
      <dgm:prSet presAssocID="{536BF759-B0D9-48A2-B28D-545A4CBCFEB0}" presName="txSpace" presStyleCnt="0"/>
      <dgm:spPr/>
    </dgm:pt>
    <dgm:pt modelId="{498BCE86-78BF-48E3-B49C-476E6B3CD622}" type="pres">
      <dgm:prSet presAssocID="{536BF759-B0D9-48A2-B28D-545A4CBCFEB0}" presName="desTx" presStyleLbl="revTx" presStyleIdx="1" presStyleCnt="4">
        <dgm:presLayoutVars/>
      </dgm:prSet>
      <dgm:spPr/>
    </dgm:pt>
    <dgm:pt modelId="{CB609FC0-B31D-4AEC-BB02-07B8DBABC8A8}" type="pres">
      <dgm:prSet presAssocID="{1DD24B6D-C8C7-4778-AC32-C9020328CC0B}" presName="sibTrans" presStyleCnt="0"/>
      <dgm:spPr/>
    </dgm:pt>
    <dgm:pt modelId="{3D8D92E5-767C-4FC5-9D66-CC394088A595}" type="pres">
      <dgm:prSet presAssocID="{C7C5D4AF-F122-480F-B281-4BA7CACD0FE9}" presName="compNode" presStyleCnt="0"/>
      <dgm:spPr/>
    </dgm:pt>
    <dgm:pt modelId="{E3147F36-6FF2-478F-A3CE-8BE2D4F2D573}" type="pres">
      <dgm:prSet presAssocID="{C7C5D4AF-F122-480F-B281-4BA7CACD0FE9}"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Trombone"/>
        </a:ext>
      </dgm:extLst>
    </dgm:pt>
    <dgm:pt modelId="{916F4FD0-FA3A-4BCA-AA1D-B894DE1FD88D}" type="pres">
      <dgm:prSet presAssocID="{C7C5D4AF-F122-480F-B281-4BA7CACD0FE9}" presName="iconSpace" presStyleCnt="0"/>
      <dgm:spPr/>
    </dgm:pt>
    <dgm:pt modelId="{2A896232-0547-47CF-9855-6412D86C8A5D}" type="pres">
      <dgm:prSet presAssocID="{C7C5D4AF-F122-480F-B281-4BA7CACD0FE9}" presName="parTx" presStyleLbl="revTx" presStyleIdx="2" presStyleCnt="4">
        <dgm:presLayoutVars>
          <dgm:chMax val="0"/>
          <dgm:chPref val="0"/>
        </dgm:presLayoutVars>
      </dgm:prSet>
      <dgm:spPr/>
    </dgm:pt>
    <dgm:pt modelId="{6CD065E1-0A41-4DFE-8274-81D2C64BD943}" type="pres">
      <dgm:prSet presAssocID="{C7C5D4AF-F122-480F-B281-4BA7CACD0FE9}" presName="txSpace" presStyleCnt="0"/>
      <dgm:spPr/>
    </dgm:pt>
    <dgm:pt modelId="{D20B35D2-D970-474C-8D4B-FA77DBAB3A64}" type="pres">
      <dgm:prSet presAssocID="{C7C5D4AF-F122-480F-B281-4BA7CACD0FE9}" presName="desTx" presStyleLbl="revTx" presStyleIdx="3" presStyleCnt="4">
        <dgm:presLayoutVars/>
      </dgm:prSet>
      <dgm:spPr/>
    </dgm:pt>
  </dgm:ptLst>
  <dgm:cxnLst>
    <dgm:cxn modelId="{C633E305-FB09-4546-BF14-E9DAD34FF735}" type="presOf" srcId="{FB757CFB-2339-4B48-AA97-F17D53527221}" destId="{498BCE86-78BF-48E3-B49C-476E6B3CD622}" srcOrd="0" destOrd="1" presId="urn:microsoft.com/office/officeart/2018/5/layout/CenteredIconLabelDescriptionList"/>
    <dgm:cxn modelId="{9AF7B00B-1231-4358-B20C-166380AA67FB}" srcId="{C7C5D4AF-F122-480F-B281-4BA7CACD0FE9}" destId="{9CD16495-F3CB-4066-BAB2-4B0B34BB272A}" srcOrd="0" destOrd="0" parTransId="{4B234244-7017-4190-B895-CA54F3B704F5}" sibTransId="{019423E4-76E5-4CFA-820B-F0BB846C4FE6}"/>
    <dgm:cxn modelId="{850D8A13-C104-4EFC-9560-483F0AA701F6}" srcId="{536BF759-B0D9-48A2-B28D-545A4CBCFEB0}" destId="{8C2CAF31-AAF2-42D5-8E0F-AD35C2862DDE}" srcOrd="0" destOrd="0" parTransId="{B3EBA674-F8FB-475A-B58A-9CDA62A1D230}" sibTransId="{5B68D274-3BAB-45E8-B763-3DD580BE8F3F}"/>
    <dgm:cxn modelId="{7E46632E-411A-44A9-98F4-F170F5CBE3E4}" srcId="{536BF759-B0D9-48A2-B28D-545A4CBCFEB0}" destId="{FB757CFB-2339-4B48-AA97-F17D53527221}" srcOrd="1" destOrd="0" parTransId="{EDC3E105-D7E8-4D9B-9C12-D18106DA72F3}" sibTransId="{60287263-56F7-4ABE-9873-006FAC138D4E}"/>
    <dgm:cxn modelId="{07967C37-D901-4F6F-A65C-76519486897F}" type="presOf" srcId="{C7C5D4AF-F122-480F-B281-4BA7CACD0FE9}" destId="{2A896232-0547-47CF-9855-6412D86C8A5D}" srcOrd="0" destOrd="0" presId="urn:microsoft.com/office/officeart/2018/5/layout/CenteredIconLabelDescriptionList"/>
    <dgm:cxn modelId="{DBEF6F46-5B96-49BA-AF6D-DA1248F811F8}" srcId="{C7C5D4AF-F122-480F-B281-4BA7CACD0FE9}" destId="{3A7163B6-2CB7-4EC9-B0D6-CFC1FE63E597}" srcOrd="1" destOrd="0" parTransId="{4AE90238-2D56-469F-9E74-B2B30D753630}" sibTransId="{C45000DD-B18A-49F9-B698-7966D27B24AA}"/>
    <dgm:cxn modelId="{88228A51-263B-4B97-BEC9-15FEC15AF351}" type="presOf" srcId="{4D3D1958-0C09-440F-817C-0357202F1966}" destId="{D20B35D2-D970-474C-8D4B-FA77DBAB3A64}" srcOrd="0" destOrd="2" presId="urn:microsoft.com/office/officeart/2018/5/layout/CenteredIconLabelDescriptionList"/>
    <dgm:cxn modelId="{67C70D58-A9A8-46C6-86CE-F9B8D0A2CB1B}" type="presOf" srcId="{9CD16495-F3CB-4066-BAB2-4B0B34BB272A}" destId="{D20B35D2-D970-474C-8D4B-FA77DBAB3A64}" srcOrd="0" destOrd="0" presId="urn:microsoft.com/office/officeart/2018/5/layout/CenteredIconLabelDescriptionList"/>
    <dgm:cxn modelId="{4B526F83-38CB-4D45-AE6A-FD7A42C86AB4}" type="presOf" srcId="{8C2CAF31-AAF2-42D5-8E0F-AD35C2862DDE}" destId="{498BCE86-78BF-48E3-B49C-476E6B3CD622}" srcOrd="0" destOrd="0" presId="urn:microsoft.com/office/officeart/2018/5/layout/CenteredIconLabelDescriptionList"/>
    <dgm:cxn modelId="{9FB429A1-3107-441E-8B3B-E0D97972CC97}" srcId="{29885DF3-89E9-4F90-87FE-B283EAC17638}" destId="{536BF759-B0D9-48A2-B28D-545A4CBCFEB0}" srcOrd="0" destOrd="0" parTransId="{98B533BD-6700-4D5A-9DF6-79784A92F288}" sibTransId="{1DD24B6D-C8C7-4778-AC32-C9020328CC0B}"/>
    <dgm:cxn modelId="{6DD4E5AC-6C6D-41E2-A7C5-693F9EC145A6}" type="presOf" srcId="{536BF759-B0D9-48A2-B28D-545A4CBCFEB0}" destId="{0A57616E-3408-46FD-81EA-150FA493C34C}" srcOrd="0" destOrd="0" presId="urn:microsoft.com/office/officeart/2018/5/layout/CenteredIconLabelDescriptionList"/>
    <dgm:cxn modelId="{90C3D2BC-93B4-40BE-851E-14AE3F88FFFD}" type="presOf" srcId="{29885DF3-89E9-4F90-87FE-B283EAC17638}" destId="{FADC612E-7A36-4C56-A2D9-2EFFFC438B80}" srcOrd="0" destOrd="0" presId="urn:microsoft.com/office/officeart/2018/5/layout/CenteredIconLabelDescriptionList"/>
    <dgm:cxn modelId="{C027B6C3-BD20-447C-96E3-AA209B476494}" srcId="{C7C5D4AF-F122-480F-B281-4BA7CACD0FE9}" destId="{4D3D1958-0C09-440F-817C-0357202F1966}" srcOrd="2" destOrd="0" parTransId="{F8B6EBCD-3309-45BF-95AF-9B842C0FF423}" sibTransId="{AD964AE9-8874-44C1-B80C-171E6DF363FA}"/>
    <dgm:cxn modelId="{06F6F4CB-8FC0-48FF-AA22-9D6A286072A3}" type="presOf" srcId="{3A7163B6-2CB7-4EC9-B0D6-CFC1FE63E597}" destId="{D20B35D2-D970-474C-8D4B-FA77DBAB3A64}" srcOrd="0" destOrd="1" presId="urn:microsoft.com/office/officeart/2018/5/layout/CenteredIconLabelDescriptionList"/>
    <dgm:cxn modelId="{0BB191F1-BFAC-4F73-8432-8D902AE84A11}" srcId="{29885DF3-89E9-4F90-87FE-B283EAC17638}" destId="{C7C5D4AF-F122-480F-B281-4BA7CACD0FE9}" srcOrd="1" destOrd="0" parTransId="{9DDEC470-C501-49DD-AE7A-4B0C558559D9}" sibTransId="{4CB4E74D-6D37-4CC0-8436-A5680D296FEE}"/>
    <dgm:cxn modelId="{FEFC19A8-B116-4464-AB19-E47B6891CE89}" type="presParOf" srcId="{FADC612E-7A36-4C56-A2D9-2EFFFC438B80}" destId="{AAEB5B11-3229-4D4C-B40F-0EACC05D964B}" srcOrd="0" destOrd="0" presId="urn:microsoft.com/office/officeart/2018/5/layout/CenteredIconLabelDescriptionList"/>
    <dgm:cxn modelId="{6216864D-1A7A-4989-BC02-2A37A3A4DB4F}" type="presParOf" srcId="{AAEB5B11-3229-4D4C-B40F-0EACC05D964B}" destId="{B8DDD673-5AC0-4173-AEF5-8A89809B2B93}" srcOrd="0" destOrd="0" presId="urn:microsoft.com/office/officeart/2018/5/layout/CenteredIconLabelDescriptionList"/>
    <dgm:cxn modelId="{5C29B492-2717-4D04-A342-DC67C9051254}" type="presParOf" srcId="{AAEB5B11-3229-4D4C-B40F-0EACC05D964B}" destId="{1E9994C8-E922-42D3-9C39-918272D4B316}" srcOrd="1" destOrd="0" presId="urn:microsoft.com/office/officeart/2018/5/layout/CenteredIconLabelDescriptionList"/>
    <dgm:cxn modelId="{0D5E872D-D5E3-42BE-A798-44F021A76AFF}" type="presParOf" srcId="{AAEB5B11-3229-4D4C-B40F-0EACC05D964B}" destId="{0A57616E-3408-46FD-81EA-150FA493C34C}" srcOrd="2" destOrd="0" presId="urn:microsoft.com/office/officeart/2018/5/layout/CenteredIconLabelDescriptionList"/>
    <dgm:cxn modelId="{B9A742DB-49C0-4601-95EB-227495E41DD4}" type="presParOf" srcId="{AAEB5B11-3229-4D4C-B40F-0EACC05D964B}" destId="{DE882A25-6573-4BE0-85FE-D7D6915299D0}" srcOrd="3" destOrd="0" presId="urn:microsoft.com/office/officeart/2018/5/layout/CenteredIconLabelDescriptionList"/>
    <dgm:cxn modelId="{A0513986-8FC6-4DAA-93CA-0BE8B3ADE3B8}" type="presParOf" srcId="{AAEB5B11-3229-4D4C-B40F-0EACC05D964B}" destId="{498BCE86-78BF-48E3-B49C-476E6B3CD622}" srcOrd="4" destOrd="0" presId="urn:microsoft.com/office/officeart/2018/5/layout/CenteredIconLabelDescriptionList"/>
    <dgm:cxn modelId="{3E762B49-0598-4007-B150-7284ABF298DB}" type="presParOf" srcId="{FADC612E-7A36-4C56-A2D9-2EFFFC438B80}" destId="{CB609FC0-B31D-4AEC-BB02-07B8DBABC8A8}" srcOrd="1" destOrd="0" presId="urn:microsoft.com/office/officeart/2018/5/layout/CenteredIconLabelDescriptionList"/>
    <dgm:cxn modelId="{A4BA28A2-C0A1-4F41-9B0B-B2ADF53D70E9}" type="presParOf" srcId="{FADC612E-7A36-4C56-A2D9-2EFFFC438B80}" destId="{3D8D92E5-767C-4FC5-9D66-CC394088A595}" srcOrd="2" destOrd="0" presId="urn:microsoft.com/office/officeart/2018/5/layout/CenteredIconLabelDescriptionList"/>
    <dgm:cxn modelId="{E32326A7-71DE-4E9C-888A-CC71A11AA039}" type="presParOf" srcId="{3D8D92E5-767C-4FC5-9D66-CC394088A595}" destId="{E3147F36-6FF2-478F-A3CE-8BE2D4F2D573}" srcOrd="0" destOrd="0" presId="urn:microsoft.com/office/officeart/2018/5/layout/CenteredIconLabelDescriptionList"/>
    <dgm:cxn modelId="{DCB0EAAE-F598-4DDA-8932-F69920D995C5}" type="presParOf" srcId="{3D8D92E5-767C-4FC5-9D66-CC394088A595}" destId="{916F4FD0-FA3A-4BCA-AA1D-B894DE1FD88D}" srcOrd="1" destOrd="0" presId="urn:microsoft.com/office/officeart/2018/5/layout/CenteredIconLabelDescriptionList"/>
    <dgm:cxn modelId="{618CF13D-544F-47B0-B759-1ECB9CBBBF10}" type="presParOf" srcId="{3D8D92E5-767C-4FC5-9D66-CC394088A595}" destId="{2A896232-0547-47CF-9855-6412D86C8A5D}" srcOrd="2" destOrd="0" presId="urn:microsoft.com/office/officeart/2018/5/layout/CenteredIconLabelDescriptionList"/>
    <dgm:cxn modelId="{9373FCE5-1D1B-4D85-B52D-27BFAC1055DD}" type="presParOf" srcId="{3D8D92E5-767C-4FC5-9D66-CC394088A595}" destId="{6CD065E1-0A41-4DFE-8274-81D2C64BD943}" srcOrd="3" destOrd="0" presId="urn:microsoft.com/office/officeart/2018/5/layout/CenteredIconLabelDescriptionList"/>
    <dgm:cxn modelId="{7995CCE6-40FC-4A95-A341-F932B77FF31C}" type="presParOf" srcId="{3D8D92E5-767C-4FC5-9D66-CC394088A595}" destId="{D20B35D2-D970-474C-8D4B-FA77DBAB3A64}" srcOrd="4" destOrd="0" presId="urn:microsoft.com/office/officeart/2018/5/layout/CenteredIconLabelDescrip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6A56693-C0D3-42BE-816E-C5C3227F2A9D}"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DFD5A27B-2547-4045-AF30-91B5098A0F04}">
      <dgm:prSet/>
      <dgm:spPr/>
      <dgm:t>
        <a:bodyPr/>
        <a:lstStyle/>
        <a:p>
          <a:r>
            <a:rPr lang="en-US" dirty="0"/>
            <a:t>Les charges</a:t>
          </a:r>
        </a:p>
      </dgm:t>
    </dgm:pt>
    <dgm:pt modelId="{DFB1FE1E-84B1-4875-9AC6-9F81CF494CB4}" type="parTrans" cxnId="{A627644E-95D3-4332-A6D0-C888AB7E0E8D}">
      <dgm:prSet/>
      <dgm:spPr/>
      <dgm:t>
        <a:bodyPr/>
        <a:lstStyle/>
        <a:p>
          <a:endParaRPr lang="en-US"/>
        </a:p>
      </dgm:t>
    </dgm:pt>
    <dgm:pt modelId="{4C140297-1432-4191-8CFC-2FED6D28A0D9}" type="sibTrans" cxnId="{A627644E-95D3-4332-A6D0-C888AB7E0E8D}">
      <dgm:prSet/>
      <dgm:spPr/>
      <dgm:t>
        <a:bodyPr/>
        <a:lstStyle/>
        <a:p>
          <a:endParaRPr lang="en-US"/>
        </a:p>
      </dgm:t>
    </dgm:pt>
    <dgm:pt modelId="{5670F998-42FB-437C-A4CC-AE6BB7802800}">
      <dgm:prSet/>
      <dgm:spPr/>
      <dgm:t>
        <a:bodyPr/>
        <a:lstStyle/>
        <a:p>
          <a:r>
            <a:rPr lang="en-US" dirty="0"/>
            <a:t>Les </a:t>
          </a:r>
          <a:r>
            <a:rPr lang="en-US" dirty="0" err="1"/>
            <a:t>produits</a:t>
          </a:r>
          <a:endParaRPr lang="en-US" dirty="0"/>
        </a:p>
      </dgm:t>
    </dgm:pt>
    <dgm:pt modelId="{D08DF18B-F31B-47F1-83BE-13826EBD9AC5}" type="parTrans" cxnId="{3E110283-9C4A-4D0F-85DD-531CC3FA6C5C}">
      <dgm:prSet/>
      <dgm:spPr/>
      <dgm:t>
        <a:bodyPr/>
        <a:lstStyle/>
        <a:p>
          <a:endParaRPr lang="en-US"/>
        </a:p>
      </dgm:t>
    </dgm:pt>
    <dgm:pt modelId="{2AA2FD1F-6CD1-4761-87FB-413D1472C6D3}" type="sibTrans" cxnId="{3E110283-9C4A-4D0F-85DD-531CC3FA6C5C}">
      <dgm:prSet/>
      <dgm:spPr/>
      <dgm:t>
        <a:bodyPr/>
        <a:lstStyle/>
        <a:p>
          <a:endParaRPr lang="en-US"/>
        </a:p>
      </dgm:t>
    </dgm:pt>
    <dgm:pt modelId="{6D2248A3-5D6F-4A89-ABE6-0B1577F35E41}" type="pres">
      <dgm:prSet presAssocID="{76A56693-C0D3-42BE-816E-C5C3227F2A9D}" presName="hierChild1" presStyleCnt="0">
        <dgm:presLayoutVars>
          <dgm:chPref val="1"/>
          <dgm:dir/>
          <dgm:animOne val="branch"/>
          <dgm:animLvl val="lvl"/>
          <dgm:resizeHandles/>
        </dgm:presLayoutVars>
      </dgm:prSet>
      <dgm:spPr/>
    </dgm:pt>
    <dgm:pt modelId="{8F8F91CC-2823-4569-A038-05D397523EB7}" type="pres">
      <dgm:prSet presAssocID="{DFD5A27B-2547-4045-AF30-91B5098A0F04}" presName="hierRoot1" presStyleCnt="0"/>
      <dgm:spPr/>
    </dgm:pt>
    <dgm:pt modelId="{7B72940F-CC82-4E37-ACAE-FF4BA42F7B88}" type="pres">
      <dgm:prSet presAssocID="{DFD5A27B-2547-4045-AF30-91B5098A0F04}" presName="composite" presStyleCnt="0"/>
      <dgm:spPr/>
    </dgm:pt>
    <dgm:pt modelId="{AD60F32E-F128-4007-86D0-18B1ADC22BEC}" type="pres">
      <dgm:prSet presAssocID="{DFD5A27B-2547-4045-AF30-91B5098A0F04}" presName="background" presStyleLbl="node0" presStyleIdx="0" presStyleCnt="2"/>
      <dgm:spPr/>
    </dgm:pt>
    <dgm:pt modelId="{00790600-121B-4230-A11C-F5C6CD593A36}" type="pres">
      <dgm:prSet presAssocID="{DFD5A27B-2547-4045-AF30-91B5098A0F04}" presName="text" presStyleLbl="fgAcc0" presStyleIdx="0" presStyleCnt="2">
        <dgm:presLayoutVars>
          <dgm:chPref val="3"/>
        </dgm:presLayoutVars>
      </dgm:prSet>
      <dgm:spPr/>
    </dgm:pt>
    <dgm:pt modelId="{2E231E19-FF6C-4FD2-A0CB-AD5D1E83158D}" type="pres">
      <dgm:prSet presAssocID="{DFD5A27B-2547-4045-AF30-91B5098A0F04}" presName="hierChild2" presStyleCnt="0"/>
      <dgm:spPr/>
    </dgm:pt>
    <dgm:pt modelId="{D3E638BB-D855-46A2-90ED-F0FFBA24682A}" type="pres">
      <dgm:prSet presAssocID="{5670F998-42FB-437C-A4CC-AE6BB7802800}" presName="hierRoot1" presStyleCnt="0"/>
      <dgm:spPr/>
    </dgm:pt>
    <dgm:pt modelId="{1D65D094-4926-4CB8-BBE0-6F34EC28F325}" type="pres">
      <dgm:prSet presAssocID="{5670F998-42FB-437C-A4CC-AE6BB7802800}" presName="composite" presStyleCnt="0"/>
      <dgm:spPr/>
    </dgm:pt>
    <dgm:pt modelId="{98E64413-4A92-4FF2-A7AB-0D641E733D7A}" type="pres">
      <dgm:prSet presAssocID="{5670F998-42FB-437C-A4CC-AE6BB7802800}" presName="background" presStyleLbl="node0" presStyleIdx="1" presStyleCnt="2"/>
      <dgm:spPr/>
    </dgm:pt>
    <dgm:pt modelId="{19CB8C87-9047-485C-9BFD-16F9A0E917D2}" type="pres">
      <dgm:prSet presAssocID="{5670F998-42FB-437C-A4CC-AE6BB7802800}" presName="text" presStyleLbl="fgAcc0" presStyleIdx="1" presStyleCnt="2">
        <dgm:presLayoutVars>
          <dgm:chPref val="3"/>
        </dgm:presLayoutVars>
      </dgm:prSet>
      <dgm:spPr/>
    </dgm:pt>
    <dgm:pt modelId="{393DD948-B0D5-4196-B30D-B4954CACE0ED}" type="pres">
      <dgm:prSet presAssocID="{5670F998-42FB-437C-A4CC-AE6BB7802800}" presName="hierChild2" presStyleCnt="0"/>
      <dgm:spPr/>
    </dgm:pt>
  </dgm:ptLst>
  <dgm:cxnLst>
    <dgm:cxn modelId="{A627644E-95D3-4332-A6D0-C888AB7E0E8D}" srcId="{76A56693-C0D3-42BE-816E-C5C3227F2A9D}" destId="{DFD5A27B-2547-4045-AF30-91B5098A0F04}" srcOrd="0" destOrd="0" parTransId="{DFB1FE1E-84B1-4875-9AC6-9F81CF494CB4}" sibTransId="{4C140297-1432-4191-8CFC-2FED6D28A0D9}"/>
    <dgm:cxn modelId="{3E110283-9C4A-4D0F-85DD-531CC3FA6C5C}" srcId="{76A56693-C0D3-42BE-816E-C5C3227F2A9D}" destId="{5670F998-42FB-437C-A4CC-AE6BB7802800}" srcOrd="1" destOrd="0" parTransId="{D08DF18B-F31B-47F1-83BE-13826EBD9AC5}" sibTransId="{2AA2FD1F-6CD1-4761-87FB-413D1472C6D3}"/>
    <dgm:cxn modelId="{A9D0AD8B-7ECB-48EE-8BC0-62B61D72E367}" type="presOf" srcId="{76A56693-C0D3-42BE-816E-C5C3227F2A9D}" destId="{6D2248A3-5D6F-4A89-ABE6-0B1577F35E41}" srcOrd="0" destOrd="0" presId="urn:microsoft.com/office/officeart/2005/8/layout/hierarchy1"/>
    <dgm:cxn modelId="{4F72068F-268C-48B3-A79E-C7B425DD03F9}" type="presOf" srcId="{5670F998-42FB-437C-A4CC-AE6BB7802800}" destId="{19CB8C87-9047-485C-9BFD-16F9A0E917D2}" srcOrd="0" destOrd="0" presId="urn:microsoft.com/office/officeart/2005/8/layout/hierarchy1"/>
    <dgm:cxn modelId="{734CCAFE-70C8-4CF0-ACA2-A59FADD5297A}" type="presOf" srcId="{DFD5A27B-2547-4045-AF30-91B5098A0F04}" destId="{00790600-121B-4230-A11C-F5C6CD593A36}" srcOrd="0" destOrd="0" presId="urn:microsoft.com/office/officeart/2005/8/layout/hierarchy1"/>
    <dgm:cxn modelId="{3BFD758F-01BD-40E8-BD04-47A786F697A6}" type="presParOf" srcId="{6D2248A3-5D6F-4A89-ABE6-0B1577F35E41}" destId="{8F8F91CC-2823-4569-A038-05D397523EB7}" srcOrd="0" destOrd="0" presId="urn:microsoft.com/office/officeart/2005/8/layout/hierarchy1"/>
    <dgm:cxn modelId="{877465E4-94AA-4757-BBC3-2E1868115E96}" type="presParOf" srcId="{8F8F91CC-2823-4569-A038-05D397523EB7}" destId="{7B72940F-CC82-4E37-ACAE-FF4BA42F7B88}" srcOrd="0" destOrd="0" presId="urn:microsoft.com/office/officeart/2005/8/layout/hierarchy1"/>
    <dgm:cxn modelId="{68BF2CF7-5416-47B0-A595-005A772E4FC2}" type="presParOf" srcId="{7B72940F-CC82-4E37-ACAE-FF4BA42F7B88}" destId="{AD60F32E-F128-4007-86D0-18B1ADC22BEC}" srcOrd="0" destOrd="0" presId="urn:microsoft.com/office/officeart/2005/8/layout/hierarchy1"/>
    <dgm:cxn modelId="{C1FC14E0-2988-4D2F-9869-ABB44CA83B69}" type="presParOf" srcId="{7B72940F-CC82-4E37-ACAE-FF4BA42F7B88}" destId="{00790600-121B-4230-A11C-F5C6CD593A36}" srcOrd="1" destOrd="0" presId="urn:microsoft.com/office/officeart/2005/8/layout/hierarchy1"/>
    <dgm:cxn modelId="{E4C1E9D3-0A4C-45E0-9C25-B8CA8E5ADC23}" type="presParOf" srcId="{8F8F91CC-2823-4569-A038-05D397523EB7}" destId="{2E231E19-FF6C-4FD2-A0CB-AD5D1E83158D}" srcOrd="1" destOrd="0" presId="urn:microsoft.com/office/officeart/2005/8/layout/hierarchy1"/>
    <dgm:cxn modelId="{38964FEF-2D4C-44B3-A3E9-8D829485CD1F}" type="presParOf" srcId="{6D2248A3-5D6F-4A89-ABE6-0B1577F35E41}" destId="{D3E638BB-D855-46A2-90ED-F0FFBA24682A}" srcOrd="1" destOrd="0" presId="urn:microsoft.com/office/officeart/2005/8/layout/hierarchy1"/>
    <dgm:cxn modelId="{59E640C9-A592-42C5-9DC0-30654ACE42CB}" type="presParOf" srcId="{D3E638BB-D855-46A2-90ED-F0FFBA24682A}" destId="{1D65D094-4926-4CB8-BBE0-6F34EC28F325}" srcOrd="0" destOrd="0" presId="urn:microsoft.com/office/officeart/2005/8/layout/hierarchy1"/>
    <dgm:cxn modelId="{BC3819D6-B647-4CFD-A28F-6D3F2B2E98DA}" type="presParOf" srcId="{1D65D094-4926-4CB8-BBE0-6F34EC28F325}" destId="{98E64413-4A92-4FF2-A7AB-0D641E733D7A}" srcOrd="0" destOrd="0" presId="urn:microsoft.com/office/officeart/2005/8/layout/hierarchy1"/>
    <dgm:cxn modelId="{1F591DC7-366D-4982-8103-360D15492991}" type="presParOf" srcId="{1D65D094-4926-4CB8-BBE0-6F34EC28F325}" destId="{19CB8C87-9047-485C-9BFD-16F9A0E917D2}" srcOrd="1" destOrd="0" presId="urn:microsoft.com/office/officeart/2005/8/layout/hierarchy1"/>
    <dgm:cxn modelId="{4036C538-5920-410A-9A5A-BF74FD3D38E7}" type="presParOf" srcId="{D3E638BB-D855-46A2-90ED-F0FFBA24682A}" destId="{393DD948-B0D5-4196-B30D-B4954CACE0ED}"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A3DAA9-DB59-4706-A27B-466FAABE7F09}">
      <dsp:nvSpPr>
        <dsp:cNvPr id="0" name=""/>
        <dsp:cNvSpPr/>
      </dsp:nvSpPr>
      <dsp:spPr>
        <a:xfrm>
          <a:off x="2193743" y="608594"/>
          <a:ext cx="1944000" cy="1944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CFEC6EC-C75B-4D5F-BF78-3A7B6AC37F8F}">
      <dsp:nvSpPr>
        <dsp:cNvPr id="0" name=""/>
        <dsp:cNvSpPr/>
      </dsp:nvSpPr>
      <dsp:spPr>
        <a:xfrm>
          <a:off x="1005743" y="3022743"/>
          <a:ext cx="432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822450">
            <a:lnSpc>
              <a:spcPct val="100000"/>
            </a:lnSpc>
            <a:spcBef>
              <a:spcPct val="0"/>
            </a:spcBef>
            <a:spcAft>
              <a:spcPct val="35000"/>
            </a:spcAft>
            <a:buNone/>
          </a:pPr>
          <a:r>
            <a:rPr lang="en-US" sz="4100" kern="1200" dirty="0" err="1"/>
            <a:t>L’expert-comptable</a:t>
          </a:r>
          <a:endParaRPr lang="en-US" sz="4100" kern="1200" dirty="0"/>
        </a:p>
      </dsp:txBody>
      <dsp:txXfrm>
        <a:off x="1005743" y="3022743"/>
        <a:ext cx="4320000" cy="720000"/>
      </dsp:txXfrm>
    </dsp:sp>
    <dsp:sp modelId="{36F343E4-A148-4814-80CB-87DAED571C9A}">
      <dsp:nvSpPr>
        <dsp:cNvPr id="0" name=""/>
        <dsp:cNvSpPr/>
      </dsp:nvSpPr>
      <dsp:spPr>
        <a:xfrm>
          <a:off x="7269743" y="608594"/>
          <a:ext cx="1944000" cy="1944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9798EB1-FC90-4757-94C7-B1833DF5E1FC}">
      <dsp:nvSpPr>
        <dsp:cNvPr id="0" name=""/>
        <dsp:cNvSpPr/>
      </dsp:nvSpPr>
      <dsp:spPr>
        <a:xfrm>
          <a:off x="6081743" y="3022743"/>
          <a:ext cx="432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822450">
            <a:lnSpc>
              <a:spcPct val="100000"/>
            </a:lnSpc>
            <a:spcBef>
              <a:spcPct val="0"/>
            </a:spcBef>
            <a:spcAft>
              <a:spcPct val="35000"/>
            </a:spcAft>
            <a:buNone/>
          </a:pPr>
          <a:r>
            <a:rPr lang="en-US" sz="4100" kern="1200" dirty="0"/>
            <a:t>Le </a:t>
          </a:r>
          <a:r>
            <a:rPr lang="en-US" sz="4100" kern="1200" dirty="0" err="1"/>
            <a:t>salarié</a:t>
          </a:r>
          <a:r>
            <a:rPr lang="en-US" sz="4100" kern="1200" dirty="0"/>
            <a:t> (</a:t>
          </a:r>
          <a:r>
            <a:rPr lang="en-US" sz="4100" kern="1200" dirty="0" err="1"/>
            <a:t>Ctt</a:t>
          </a:r>
          <a:r>
            <a:rPr lang="en-US" sz="4100" kern="1200" dirty="0"/>
            <a:t> de W)</a:t>
          </a:r>
        </a:p>
      </dsp:txBody>
      <dsp:txXfrm>
        <a:off x="6081743" y="3022743"/>
        <a:ext cx="4320000" cy="7200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84562-8FA5-49BC-8F2E-C4E3ABC0F302}">
      <dsp:nvSpPr>
        <dsp:cNvPr id="0" name=""/>
        <dsp:cNvSpPr/>
      </dsp:nvSpPr>
      <dsp:spPr>
        <a:xfrm>
          <a:off x="0" y="0"/>
          <a:ext cx="9812555" cy="3814184"/>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0 - Achats (sauf 603)</a:t>
          </a:r>
        </a:p>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01 - Achats stockés - Matières premières (et fournitures)</a:t>
          </a:r>
        </a:p>
        <a:p>
          <a:pPr marL="0" lvl="0" indent="0" algn="l" defTabSz="800100">
            <a:lnSpc>
              <a:spcPct val="90000"/>
            </a:lnSpc>
            <a:spcBef>
              <a:spcPct val="0"/>
            </a:spcBef>
            <a:spcAft>
              <a:spcPct val="35000"/>
            </a:spcAft>
            <a:buNone/>
          </a:pPr>
          <a:r>
            <a:rPr lang="fr-FR" sz="2000" kern="1200" dirty="0">
              <a:solidFill>
                <a:srgbClr val="FFFFFF"/>
              </a:solidFill>
              <a:latin typeface="+mj-lt"/>
              <a:ea typeface="+mj-ea"/>
              <a:cs typeface="+mj-cs"/>
            </a:rPr>
            <a:t>602 - Achats stockés – Autres approvisionnements</a:t>
          </a:r>
        </a:p>
        <a:p>
          <a:pPr marL="0" lvl="0" indent="0" algn="l" defTabSz="800100">
            <a:lnSpc>
              <a:spcPct val="90000"/>
            </a:lnSpc>
            <a:spcBef>
              <a:spcPct val="0"/>
            </a:spcBef>
            <a:spcAft>
              <a:spcPct val="35000"/>
            </a:spcAft>
            <a:buNone/>
          </a:pPr>
          <a:r>
            <a:rPr lang="fr-FR" sz="2000" kern="1200" dirty="0">
              <a:solidFill>
                <a:srgbClr val="FFFFFF"/>
              </a:solidFill>
              <a:latin typeface="+mj-lt"/>
              <a:ea typeface="+mj-ea"/>
              <a:cs typeface="+mj-cs"/>
            </a:rPr>
            <a:t>603 Variation de stocks</a:t>
          </a:r>
        </a:p>
        <a:p>
          <a:pPr marL="0" lvl="0" indent="0" algn="l" defTabSz="800100">
            <a:lnSpc>
              <a:spcPct val="90000"/>
            </a:lnSpc>
            <a:spcBef>
              <a:spcPct val="0"/>
            </a:spcBef>
            <a:spcAft>
              <a:spcPct val="35000"/>
            </a:spcAft>
            <a:buNone/>
          </a:pPr>
          <a:r>
            <a:rPr lang="fr-FR" sz="2000" kern="1200" dirty="0">
              <a:solidFill>
                <a:srgbClr val="FFFFFF"/>
              </a:solidFill>
              <a:latin typeface="+mj-lt"/>
              <a:ea typeface="+mj-ea"/>
              <a:cs typeface="+mj-cs"/>
            </a:rPr>
            <a:t>604 - Achats d'études et prestations de services</a:t>
          </a:r>
        </a:p>
        <a:p>
          <a:pPr marL="0" lvl="0" indent="0" algn="l" defTabSz="800100">
            <a:lnSpc>
              <a:spcPct val="90000"/>
            </a:lnSpc>
            <a:spcBef>
              <a:spcPct val="0"/>
            </a:spcBef>
            <a:spcAft>
              <a:spcPct val="35000"/>
            </a:spcAft>
            <a:buNone/>
          </a:pPr>
          <a:r>
            <a:rPr lang="fr-FR" sz="2000" kern="1200" dirty="0">
              <a:solidFill>
                <a:srgbClr val="FFFFFF"/>
              </a:solidFill>
              <a:latin typeface="+mj-lt"/>
              <a:ea typeface="+mj-ea"/>
              <a:cs typeface="+mj-cs"/>
            </a:rPr>
            <a:t>605 - Achats de matériel, équipements et travaux</a:t>
          </a:r>
        </a:p>
        <a:p>
          <a:pPr marL="0" lvl="0" indent="0" algn="l" defTabSz="800100">
            <a:lnSpc>
              <a:spcPct val="90000"/>
            </a:lnSpc>
            <a:spcBef>
              <a:spcPct val="0"/>
            </a:spcBef>
            <a:spcAft>
              <a:spcPct val="35000"/>
            </a:spcAft>
            <a:buNone/>
          </a:pPr>
          <a:r>
            <a:rPr lang="fr-FR" sz="2000" kern="1200" dirty="0">
              <a:solidFill>
                <a:srgbClr val="FFFFFF"/>
              </a:solidFill>
              <a:latin typeface="+mj-lt"/>
              <a:ea typeface="+mj-ea"/>
              <a:cs typeface="+mj-cs"/>
            </a:rPr>
            <a:t>606 - Achats non stockés de matière et fournitures</a:t>
          </a:r>
        </a:p>
        <a:p>
          <a:pPr marL="0" lvl="0" indent="0" algn="l" defTabSz="800100">
            <a:lnSpc>
              <a:spcPct val="90000"/>
            </a:lnSpc>
            <a:spcBef>
              <a:spcPct val="0"/>
            </a:spcBef>
            <a:spcAft>
              <a:spcPct val="35000"/>
            </a:spcAft>
            <a:buNone/>
          </a:pPr>
          <a:r>
            <a:rPr lang="fr-FR" sz="2000" kern="1200" dirty="0">
              <a:solidFill>
                <a:srgbClr val="FFFFFF"/>
              </a:solidFill>
              <a:latin typeface="+mj-lt"/>
              <a:ea typeface="+mj-ea"/>
              <a:cs typeface="+mj-cs"/>
            </a:rPr>
            <a:t>607 - Achats de marchandises</a:t>
          </a:r>
        </a:p>
        <a:p>
          <a:pPr marL="0" lvl="0" indent="0" algn="l" defTabSz="800100">
            <a:lnSpc>
              <a:spcPct val="90000"/>
            </a:lnSpc>
            <a:spcBef>
              <a:spcPct val="0"/>
            </a:spcBef>
            <a:spcAft>
              <a:spcPct val="35000"/>
            </a:spcAft>
            <a:buNone/>
          </a:pPr>
          <a:r>
            <a:rPr lang="fr-FR" sz="2000" kern="1200" dirty="0">
              <a:solidFill>
                <a:srgbClr val="FFFFFF"/>
              </a:solidFill>
              <a:latin typeface="+mj-lt"/>
              <a:ea typeface="+mj-ea"/>
              <a:cs typeface="+mj-cs"/>
            </a:rPr>
            <a:t>609 - Rabais, remises et ristournes obtenus sur achats</a:t>
          </a:r>
        </a:p>
        <a:p>
          <a:pPr marL="0" lvl="0" indent="0" algn="ctr" defTabSz="800100">
            <a:lnSpc>
              <a:spcPct val="90000"/>
            </a:lnSpc>
            <a:spcBef>
              <a:spcPct val="0"/>
            </a:spcBef>
            <a:spcAft>
              <a:spcPct val="35000"/>
            </a:spcAft>
            <a:buNone/>
          </a:pPr>
          <a:endParaRPr lang="fr-FR" sz="700" kern="1200" dirty="0">
            <a:latin typeface="Arial" panose="020B0604020202020204" pitchFamily="34" charset="0"/>
            <a:ea typeface="+mn-ea"/>
            <a:cs typeface="Arial" panose="020B0604020202020204" pitchFamily="34" charset="0"/>
          </a:endParaRPr>
        </a:p>
      </dsp:txBody>
      <dsp:txXfrm>
        <a:off x="111714" y="111714"/>
        <a:ext cx="9589127" cy="359075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84562-8FA5-49BC-8F2E-C4E3ABC0F302}">
      <dsp:nvSpPr>
        <dsp:cNvPr id="0" name=""/>
        <dsp:cNvSpPr/>
      </dsp:nvSpPr>
      <dsp:spPr>
        <a:xfrm>
          <a:off x="0" y="0"/>
          <a:ext cx="9812555" cy="3814184"/>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1 – Service extérieurs </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11 - Sous-traitance générale</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12 - Redevances de crédit-bail</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13 – Locations</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14 - Charges locatives et de copropriété</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15 - Entretien et réparations</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16 - Primes d'assurances</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17 – Etudes et recherches</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18 – Documentation</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19 - RRR</a:t>
          </a:r>
        </a:p>
        <a:p>
          <a:pPr marL="0" lvl="0" indent="0" defTabSz="800100">
            <a:lnSpc>
              <a:spcPct val="90000"/>
            </a:lnSpc>
            <a:spcBef>
              <a:spcPct val="0"/>
            </a:spcBef>
            <a:spcAft>
              <a:spcPct val="35000"/>
            </a:spcAft>
            <a:buNone/>
          </a:pPr>
          <a:endParaRPr lang="fr-FR" sz="2000" kern="1200" dirty="0">
            <a:solidFill>
              <a:srgbClr val="FFFFFF"/>
            </a:solidFill>
            <a:latin typeface="+mj-lt"/>
            <a:ea typeface="+mj-ea"/>
            <a:cs typeface="+mj-cs"/>
          </a:endParaRPr>
        </a:p>
        <a:p>
          <a:pPr marL="0" lvl="0" indent="0" algn="ctr" defTabSz="800100">
            <a:lnSpc>
              <a:spcPct val="90000"/>
            </a:lnSpc>
            <a:spcBef>
              <a:spcPct val="0"/>
            </a:spcBef>
            <a:spcAft>
              <a:spcPct val="35000"/>
            </a:spcAft>
            <a:buNone/>
          </a:pPr>
          <a:endParaRPr lang="fr-FR" sz="700" kern="1200" dirty="0">
            <a:latin typeface="Arial" panose="020B0604020202020204" pitchFamily="34" charset="0"/>
            <a:ea typeface="+mn-ea"/>
            <a:cs typeface="Arial" panose="020B0604020202020204" pitchFamily="34" charset="0"/>
          </a:endParaRPr>
        </a:p>
      </dsp:txBody>
      <dsp:txXfrm>
        <a:off x="111714" y="111714"/>
        <a:ext cx="9589127" cy="359075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84562-8FA5-49BC-8F2E-C4E3ABC0F302}">
      <dsp:nvSpPr>
        <dsp:cNvPr id="0" name=""/>
        <dsp:cNvSpPr/>
      </dsp:nvSpPr>
      <dsp:spPr>
        <a:xfrm>
          <a:off x="0" y="0"/>
          <a:ext cx="9812555" cy="3814184"/>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defTabSz="1066800">
            <a:lnSpc>
              <a:spcPct val="90000"/>
            </a:lnSpc>
            <a:spcBef>
              <a:spcPct val="0"/>
            </a:spcBef>
            <a:spcAft>
              <a:spcPct val="35000"/>
            </a:spcAft>
            <a:buNone/>
          </a:pPr>
          <a:r>
            <a:rPr lang="fr-FR" sz="2400" kern="1200" dirty="0">
              <a:latin typeface="Arial" panose="020B0604020202020204" pitchFamily="34" charset="0"/>
              <a:cs typeface="Arial" panose="020B0604020202020204" pitchFamily="34" charset="0"/>
            </a:rPr>
            <a:t>621 - Personnel extérieur à l'entreprise</a:t>
          </a:r>
        </a:p>
        <a:p>
          <a:pPr marL="0" lvl="0" indent="0" defTabSz="1066800">
            <a:lnSpc>
              <a:spcPct val="90000"/>
            </a:lnSpc>
            <a:spcBef>
              <a:spcPct val="0"/>
            </a:spcBef>
            <a:spcAft>
              <a:spcPct val="35000"/>
            </a:spcAft>
            <a:buNone/>
          </a:pPr>
          <a:r>
            <a:rPr lang="fr-FR" sz="2400" kern="1200" dirty="0">
              <a:latin typeface="Arial" panose="020B0604020202020204" pitchFamily="34" charset="0"/>
              <a:cs typeface="Arial" panose="020B0604020202020204" pitchFamily="34" charset="0"/>
            </a:rPr>
            <a:t>622 - Rémunérations d'intermédiaires et honoraires</a:t>
          </a:r>
        </a:p>
        <a:p>
          <a:pPr marL="0" lvl="0" indent="0" defTabSz="1066800">
            <a:lnSpc>
              <a:spcPct val="90000"/>
            </a:lnSpc>
            <a:spcBef>
              <a:spcPct val="0"/>
            </a:spcBef>
            <a:spcAft>
              <a:spcPct val="35000"/>
            </a:spcAft>
            <a:buNone/>
          </a:pPr>
          <a:r>
            <a:rPr lang="fr-FR" sz="2400" kern="1200" dirty="0">
              <a:latin typeface="Arial" panose="020B0604020202020204" pitchFamily="34" charset="0"/>
              <a:cs typeface="Arial" panose="020B0604020202020204" pitchFamily="34" charset="0"/>
            </a:rPr>
            <a:t>6221 - Commissions et courtages sur achats</a:t>
          </a:r>
        </a:p>
        <a:p>
          <a:pPr marL="0" lvl="0" indent="0" defTabSz="1066800">
            <a:lnSpc>
              <a:spcPct val="90000"/>
            </a:lnSpc>
            <a:spcBef>
              <a:spcPct val="0"/>
            </a:spcBef>
            <a:spcAft>
              <a:spcPct val="35000"/>
            </a:spcAft>
            <a:buNone/>
          </a:pPr>
          <a:r>
            <a:rPr lang="fr-FR" sz="2400" kern="1200" dirty="0">
              <a:latin typeface="Arial" panose="020B0604020202020204" pitchFamily="34" charset="0"/>
              <a:cs typeface="Arial" panose="020B0604020202020204" pitchFamily="34" charset="0"/>
            </a:rPr>
            <a:t>6222 6226 - Honoraires</a:t>
          </a:r>
        </a:p>
        <a:p>
          <a:pPr marL="0" lvl="0" indent="0" defTabSz="1066800">
            <a:lnSpc>
              <a:spcPct val="90000"/>
            </a:lnSpc>
            <a:spcBef>
              <a:spcPct val="0"/>
            </a:spcBef>
            <a:spcAft>
              <a:spcPct val="35000"/>
            </a:spcAft>
            <a:buNone/>
          </a:pPr>
          <a:r>
            <a:rPr lang="fr-FR" sz="2400" kern="1200" dirty="0">
              <a:latin typeface="Arial" panose="020B0604020202020204" pitchFamily="34" charset="0"/>
              <a:cs typeface="Arial" panose="020B0604020202020204" pitchFamily="34" charset="0"/>
            </a:rPr>
            <a:t>6227 - Frais d'actes et de contentieux</a:t>
          </a:r>
        </a:p>
        <a:p>
          <a:pPr marL="0" lvl="0" indent="0" defTabSz="1066800">
            <a:lnSpc>
              <a:spcPct val="90000"/>
            </a:lnSpc>
            <a:spcBef>
              <a:spcPct val="0"/>
            </a:spcBef>
            <a:spcAft>
              <a:spcPct val="35000"/>
            </a:spcAft>
            <a:buNone/>
          </a:pPr>
          <a:r>
            <a:rPr lang="fr-FR" sz="2400" kern="1200" dirty="0">
              <a:latin typeface="Arial" panose="020B0604020202020204" pitchFamily="34" charset="0"/>
              <a:cs typeface="Arial" panose="020B0604020202020204" pitchFamily="34" charset="0"/>
            </a:rPr>
            <a:t>6228 - Divers</a:t>
          </a:r>
        </a:p>
        <a:p>
          <a:pPr marL="0" lvl="0" indent="0" algn="ctr" defTabSz="1066800">
            <a:lnSpc>
              <a:spcPct val="90000"/>
            </a:lnSpc>
            <a:spcBef>
              <a:spcPct val="0"/>
            </a:spcBef>
            <a:spcAft>
              <a:spcPct val="35000"/>
            </a:spcAft>
            <a:buNone/>
          </a:pPr>
          <a:endParaRPr lang="fr-FR" sz="700" kern="1200" dirty="0">
            <a:latin typeface="Arial" panose="020B0604020202020204" pitchFamily="34" charset="0"/>
            <a:ea typeface="+mn-ea"/>
            <a:cs typeface="Arial" panose="020B0604020202020204" pitchFamily="34" charset="0"/>
          </a:endParaRPr>
        </a:p>
      </dsp:txBody>
      <dsp:txXfrm>
        <a:off x="111714" y="111714"/>
        <a:ext cx="9589127" cy="359075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84562-8FA5-49BC-8F2E-C4E3ABC0F302}">
      <dsp:nvSpPr>
        <dsp:cNvPr id="0" name=""/>
        <dsp:cNvSpPr/>
      </dsp:nvSpPr>
      <dsp:spPr>
        <a:xfrm>
          <a:off x="0" y="0"/>
          <a:ext cx="9812555" cy="3814184"/>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23 - Publicité, publications, relations publiques</a:t>
          </a:r>
        </a:p>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231 - Annonces et insertions</a:t>
          </a:r>
        </a:p>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238 - Divers (pourboires, dons courants, …)</a:t>
          </a:r>
        </a:p>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24 - Transports de biens et transports collectifs du personnel</a:t>
          </a:r>
        </a:p>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25 - Déplacements, missions et réceptions</a:t>
          </a:r>
        </a:p>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251 - Voyages et déplacements</a:t>
          </a:r>
        </a:p>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255 - Frais de déménagement</a:t>
          </a:r>
        </a:p>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256 - Missions</a:t>
          </a:r>
        </a:p>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257 – Réceptions</a:t>
          </a:r>
        </a:p>
        <a:p>
          <a:pPr marL="0" lvl="0" indent="0" algn="l" defTabSz="800100">
            <a:lnSpc>
              <a:spcPct val="90000"/>
            </a:lnSpc>
            <a:spcBef>
              <a:spcPct val="0"/>
            </a:spcBef>
            <a:spcAft>
              <a:spcPct val="35000"/>
            </a:spcAft>
            <a:buNone/>
          </a:pPr>
          <a:r>
            <a:rPr lang="fr-FR" sz="1800" kern="1200" dirty="0">
              <a:latin typeface="Arial" panose="020B0604020202020204" pitchFamily="34" charset="0"/>
              <a:ea typeface="+mn-ea"/>
              <a:cs typeface="Arial" panose="020B0604020202020204" pitchFamily="34" charset="0"/>
            </a:rPr>
            <a:t>627 – </a:t>
          </a:r>
          <a:r>
            <a:rPr lang="fr-FR" sz="1800" kern="1200">
              <a:latin typeface="Arial" panose="020B0604020202020204" pitchFamily="34" charset="0"/>
              <a:ea typeface="+mn-ea"/>
              <a:cs typeface="Arial" panose="020B0604020202020204" pitchFamily="34" charset="0"/>
            </a:rPr>
            <a:t>Frais bancaires</a:t>
          </a:r>
          <a:endParaRPr lang="fr-FR" sz="700" kern="1200" dirty="0">
            <a:latin typeface="Arial" panose="020B0604020202020204" pitchFamily="34" charset="0"/>
            <a:ea typeface="+mn-ea"/>
            <a:cs typeface="Arial" panose="020B0604020202020204" pitchFamily="34" charset="0"/>
          </a:endParaRPr>
        </a:p>
      </dsp:txBody>
      <dsp:txXfrm>
        <a:off x="111714" y="111714"/>
        <a:ext cx="9589127" cy="359075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84562-8FA5-49BC-8F2E-C4E3ABC0F302}">
      <dsp:nvSpPr>
        <dsp:cNvPr id="0" name=""/>
        <dsp:cNvSpPr/>
      </dsp:nvSpPr>
      <dsp:spPr>
        <a:xfrm>
          <a:off x="0" y="0"/>
          <a:ext cx="9812555" cy="3814184"/>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3 – Impôts, taxes et versements assimilés</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311 - Taxe sur les salaires</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312 - Taxe d'apprentissage</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313 - Participation des employeurs à la formation professionnelle continue</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3511 - Contribution économique territoriale</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3512 - Taxes foncières</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3514 - Taxe sur les véhicules des sociétés</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353 - Impôts indirects</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354 - Droits d'enregistrement et de timbre</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3541 - Droits de mutation</a:t>
          </a:r>
        </a:p>
        <a:p>
          <a:pPr marL="0" lvl="0" indent="0"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358 - Autres droits</a:t>
          </a:r>
        </a:p>
        <a:p>
          <a:pPr marL="0" lvl="0" indent="0" defTabSz="800100">
            <a:lnSpc>
              <a:spcPct val="90000"/>
            </a:lnSpc>
            <a:spcBef>
              <a:spcPct val="0"/>
            </a:spcBef>
            <a:spcAft>
              <a:spcPct val="35000"/>
            </a:spcAft>
            <a:buNone/>
          </a:pPr>
          <a:endParaRPr lang="fr-FR" sz="700" kern="1200" dirty="0">
            <a:latin typeface="Arial" panose="020B0604020202020204" pitchFamily="34" charset="0"/>
            <a:ea typeface="+mn-ea"/>
            <a:cs typeface="Arial" panose="020B0604020202020204" pitchFamily="34" charset="0"/>
          </a:endParaRPr>
        </a:p>
      </dsp:txBody>
      <dsp:txXfrm>
        <a:off x="111714" y="111714"/>
        <a:ext cx="9589127" cy="359075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84562-8FA5-49BC-8F2E-C4E3ABC0F302}">
      <dsp:nvSpPr>
        <dsp:cNvPr id="0" name=""/>
        <dsp:cNvSpPr/>
      </dsp:nvSpPr>
      <dsp:spPr>
        <a:xfrm>
          <a:off x="0" y="0"/>
          <a:ext cx="9812555" cy="3814184"/>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endParaRPr lang="fr-FR" sz="1800" kern="1200" dirty="0">
            <a:latin typeface="Arial" panose="020B0604020202020204" pitchFamily="34" charset="0"/>
            <a:cs typeface="Arial" panose="020B0604020202020204" pitchFamily="34" charset="0"/>
          </a:endParaRP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1 - Rémunérations du personnel</a:t>
          </a: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12 - Congés payés</a:t>
          </a: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13 - Primes et gratifications</a:t>
          </a: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14 - Indemnités et avantages divers</a:t>
          </a: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4 - Rémunération du travail de l'exploitant</a:t>
          </a: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5 - Charges de sécurité sociale et de prévoyance</a:t>
          </a: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51 - Cotisations à l'URSSAF</a:t>
          </a: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52 - Cotisations aux mutuelles</a:t>
          </a: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53 - Cotisations aux caisses de retraite</a:t>
          </a: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58 - Cotisations aux autres organismes sociaux</a:t>
          </a: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6 - Cotisations sociales personnelles de l'exploitant</a:t>
          </a:r>
        </a:p>
        <a:p>
          <a:pPr marL="0" lvl="0" indent="0" algn="ctr" defTabSz="800100">
            <a:lnSpc>
              <a:spcPct val="90000"/>
            </a:lnSpc>
            <a:spcBef>
              <a:spcPct val="0"/>
            </a:spcBef>
            <a:spcAft>
              <a:spcPct val="35000"/>
            </a:spcAft>
            <a:buNone/>
          </a:pPr>
          <a:r>
            <a:rPr lang="fr-FR" sz="1800" kern="1200" dirty="0">
              <a:latin typeface="Arial" panose="020B0604020202020204" pitchFamily="34" charset="0"/>
              <a:cs typeface="Arial" panose="020B0604020202020204" pitchFamily="34" charset="0"/>
            </a:rPr>
            <a:t>647 - Autres charges sociales</a:t>
          </a:r>
        </a:p>
      </dsp:txBody>
      <dsp:txXfrm>
        <a:off x="111714" y="111714"/>
        <a:ext cx="9589127" cy="35907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726FE4-3298-4807-8246-4585174CA5BF}">
      <dsp:nvSpPr>
        <dsp:cNvPr id="0" name=""/>
        <dsp:cNvSpPr/>
      </dsp:nvSpPr>
      <dsp:spPr>
        <a:xfrm>
          <a:off x="2905022" y="1817886"/>
          <a:ext cx="1776966" cy="17769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fr-FR" sz="2800" kern="1200"/>
            <a:t>Légal + contractuel</a:t>
          </a:r>
          <a:endParaRPr lang="en-US" sz="2800" kern="1200"/>
        </a:p>
      </dsp:txBody>
      <dsp:txXfrm>
        <a:off x="2905022" y="1817886"/>
        <a:ext cx="1776966" cy="1776966"/>
      </dsp:txXfrm>
    </dsp:sp>
    <dsp:sp modelId="{10E7AFC6-07FD-4FD2-8102-652F5A31F64E}">
      <dsp:nvSpPr>
        <dsp:cNvPr id="0" name=""/>
        <dsp:cNvSpPr/>
      </dsp:nvSpPr>
      <dsp:spPr>
        <a:xfrm>
          <a:off x="514800" y="879325"/>
          <a:ext cx="3654089" cy="3654089"/>
        </a:xfrm>
        <a:prstGeom prst="circularArrow">
          <a:avLst>
            <a:gd name="adj1" fmla="val 9483"/>
            <a:gd name="adj2" fmla="val 684952"/>
            <a:gd name="adj3" fmla="val 7850793"/>
            <a:gd name="adj4" fmla="val 2264255"/>
            <a:gd name="adj5" fmla="val 11063"/>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977D91-832F-49E8-80EE-DFB805796DF0}">
      <dsp:nvSpPr>
        <dsp:cNvPr id="0" name=""/>
        <dsp:cNvSpPr/>
      </dsp:nvSpPr>
      <dsp:spPr>
        <a:xfrm>
          <a:off x="1700" y="1817886"/>
          <a:ext cx="1776966" cy="17769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fr-FR" sz="2800" kern="1200"/>
            <a:t>Contractuel + légal</a:t>
          </a:r>
          <a:endParaRPr lang="en-US" sz="2800" kern="1200"/>
        </a:p>
      </dsp:txBody>
      <dsp:txXfrm>
        <a:off x="1700" y="1817886"/>
        <a:ext cx="1776966" cy="1776966"/>
      </dsp:txXfrm>
    </dsp:sp>
    <dsp:sp modelId="{05CD7C18-42D2-429F-AB17-054AF06BA342}">
      <dsp:nvSpPr>
        <dsp:cNvPr id="0" name=""/>
        <dsp:cNvSpPr/>
      </dsp:nvSpPr>
      <dsp:spPr>
        <a:xfrm>
          <a:off x="514800" y="879325"/>
          <a:ext cx="3654089" cy="3654089"/>
        </a:xfrm>
        <a:prstGeom prst="circularArrow">
          <a:avLst>
            <a:gd name="adj1" fmla="val 9483"/>
            <a:gd name="adj2" fmla="val 684952"/>
            <a:gd name="adj3" fmla="val 18650793"/>
            <a:gd name="adj4" fmla="val 13064255"/>
            <a:gd name="adj5" fmla="val 11063"/>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4B4098-570F-4890-A54C-721607CE468C}">
      <dsp:nvSpPr>
        <dsp:cNvPr id="0" name=""/>
        <dsp:cNvSpPr/>
      </dsp:nvSpPr>
      <dsp:spPr>
        <a:xfrm>
          <a:off x="81280" y="23578"/>
          <a:ext cx="10413996" cy="5481111"/>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FR" sz="2800" kern="1200" dirty="0">
              <a:latin typeface="Arial" panose="020B0604020202020204" pitchFamily="34" charset="0"/>
              <a:cs typeface="Arial" panose="020B0604020202020204" pitchFamily="34" charset="0"/>
            </a:rPr>
            <a:t>L’expert-comptable</a:t>
          </a:r>
        </a:p>
        <a:p>
          <a:pPr marL="0" lvl="0" indent="0" algn="l" defTabSz="1244600">
            <a:lnSpc>
              <a:spcPct val="90000"/>
            </a:lnSpc>
            <a:spcBef>
              <a:spcPct val="0"/>
            </a:spcBef>
            <a:spcAft>
              <a:spcPct val="35000"/>
            </a:spcAft>
            <a:buNone/>
          </a:pPr>
          <a:r>
            <a:rPr lang="fr-FR" sz="2800" b="0" i="0" kern="1200" dirty="0"/>
            <a:t>=&gt; titulaire du diplôme français (DEC), bac + 8 ans dont 3 ans de stage en cabinet </a:t>
          </a:r>
          <a:endParaRPr lang="fr-FR" sz="2800" kern="1200" dirty="0">
            <a:latin typeface="Arial" panose="020B0604020202020204" pitchFamily="34" charset="0"/>
            <a:cs typeface="Arial" panose="020B0604020202020204" pitchFamily="34" charset="0"/>
          </a:endParaRPr>
        </a:p>
        <a:p>
          <a:pPr marL="0" lvl="0" indent="0" algn="l" defTabSz="1244600">
            <a:lnSpc>
              <a:spcPct val="90000"/>
            </a:lnSpc>
            <a:spcBef>
              <a:spcPct val="0"/>
            </a:spcBef>
            <a:spcAft>
              <a:spcPct val="35000"/>
            </a:spcAft>
            <a:buFont typeface="Arial" panose="020B0604020202020204" pitchFamily="34" charset="0"/>
            <a:buNone/>
          </a:pPr>
          <a:r>
            <a:rPr lang="fr-FR" sz="2800" b="0" i="0" kern="1200" dirty="0"/>
            <a:t>=&gt; il est inscrit au tableau de l’Ordre des experts-comptables </a:t>
          </a:r>
        </a:p>
        <a:p>
          <a:pPr marL="0" lvl="0" indent="0" algn="l" defTabSz="1244600">
            <a:lnSpc>
              <a:spcPct val="90000"/>
            </a:lnSpc>
            <a:spcBef>
              <a:spcPct val="0"/>
            </a:spcBef>
            <a:spcAft>
              <a:spcPct val="35000"/>
            </a:spcAft>
            <a:buFont typeface="Arial" panose="020B0604020202020204" pitchFamily="34" charset="0"/>
            <a:buNone/>
          </a:pPr>
          <a:r>
            <a:rPr lang="fr-FR" sz="2800" b="0" i="0" kern="1200" dirty="0"/>
            <a:t>=&gt; il prête serment lors de son inscription </a:t>
          </a:r>
        </a:p>
        <a:p>
          <a:pPr marL="0" lvl="0" indent="0" algn="l" defTabSz="1244600">
            <a:lnSpc>
              <a:spcPct val="90000"/>
            </a:lnSpc>
            <a:spcBef>
              <a:spcPct val="0"/>
            </a:spcBef>
            <a:spcAft>
              <a:spcPct val="35000"/>
            </a:spcAft>
            <a:buFont typeface="Arial" panose="020B0604020202020204" pitchFamily="34" charset="0"/>
            <a:buNone/>
          </a:pPr>
          <a:r>
            <a:rPr lang="fr-FR" sz="2800" b="0" i="0" kern="1200" dirty="0"/>
            <a:t>=&gt; il est soumis à un code de déontologie et à des normes professionnelles </a:t>
          </a:r>
        </a:p>
        <a:p>
          <a:pPr marL="0" lvl="0" indent="0" algn="l" defTabSz="1244600">
            <a:lnSpc>
              <a:spcPct val="90000"/>
            </a:lnSpc>
            <a:spcBef>
              <a:spcPct val="0"/>
            </a:spcBef>
            <a:spcAft>
              <a:spcPct val="35000"/>
            </a:spcAft>
            <a:buFont typeface="Arial" panose="020B0604020202020204" pitchFamily="34" charset="0"/>
            <a:buNone/>
          </a:pPr>
          <a:r>
            <a:rPr lang="fr-FR" sz="2800" b="0" i="0" kern="1200" dirty="0"/>
            <a:t>=&gt; il fait l’objet de contrôles réguliers sur son activité professionnelle </a:t>
          </a:r>
        </a:p>
        <a:p>
          <a:pPr marL="0" lvl="0" indent="0" algn="l" defTabSz="1244600">
            <a:lnSpc>
              <a:spcPct val="90000"/>
            </a:lnSpc>
            <a:spcBef>
              <a:spcPct val="0"/>
            </a:spcBef>
            <a:spcAft>
              <a:spcPct val="35000"/>
            </a:spcAft>
            <a:buNone/>
          </a:pPr>
          <a:r>
            <a:rPr lang="fr-FR" sz="2800" b="0" i="0" kern="1200" dirty="0"/>
            <a:t>=&gt; il est soumis à une obligation d’assurance civile professionnelle.</a:t>
          </a:r>
          <a:endParaRPr lang="fr-FR" sz="2800" kern="1200" dirty="0">
            <a:latin typeface="Arial" panose="020B0604020202020204" pitchFamily="34" charset="0"/>
            <a:cs typeface="Arial" panose="020B0604020202020204" pitchFamily="34" charset="0"/>
          </a:endParaRPr>
        </a:p>
      </dsp:txBody>
      <dsp:txXfrm>
        <a:off x="241816" y="184114"/>
        <a:ext cx="10092924" cy="51600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E99EE8-44B9-4693-A70F-4C74AD130EC6}">
      <dsp:nvSpPr>
        <dsp:cNvPr id="0" name=""/>
        <dsp:cNvSpPr/>
      </dsp:nvSpPr>
      <dsp:spPr>
        <a:xfrm>
          <a:off x="824409" y="37337"/>
          <a:ext cx="1612687" cy="1612687"/>
        </a:xfrm>
        <a:prstGeom prst="round2DiagRect">
          <a:avLst>
            <a:gd name="adj1" fmla="val 29727"/>
            <a:gd name="adj2" fmla="val 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4E7962B-4810-460A-A1CB-E6CC8C430ABB}">
      <dsp:nvSpPr>
        <dsp:cNvPr id="0" name=""/>
        <dsp:cNvSpPr/>
      </dsp:nvSpPr>
      <dsp:spPr>
        <a:xfrm>
          <a:off x="1168097" y="381025"/>
          <a:ext cx="925312" cy="92531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7661008-DC16-407B-82DE-1FAFD93FA5A0}">
      <dsp:nvSpPr>
        <dsp:cNvPr id="0" name=""/>
        <dsp:cNvSpPr/>
      </dsp:nvSpPr>
      <dsp:spPr>
        <a:xfrm>
          <a:off x="3404603" y="1866461"/>
          <a:ext cx="26437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b="0" i="0" kern="1200" baseline="0" dirty="0"/>
            <a:t>Doc 2 =&gt; LAB</a:t>
          </a:r>
          <a:endParaRPr lang="en-US" sz="1100" kern="1200" dirty="0"/>
        </a:p>
      </dsp:txBody>
      <dsp:txXfrm>
        <a:off x="3404603" y="1866461"/>
        <a:ext cx="2643750" cy="720000"/>
      </dsp:txXfrm>
    </dsp:sp>
    <dsp:sp modelId="{69A8EFB5-1B68-4E4C-B40F-8F5B95D21F56}">
      <dsp:nvSpPr>
        <dsp:cNvPr id="0" name=""/>
        <dsp:cNvSpPr/>
      </dsp:nvSpPr>
      <dsp:spPr>
        <a:xfrm>
          <a:off x="3930815" y="37337"/>
          <a:ext cx="1612687" cy="1612687"/>
        </a:xfrm>
        <a:prstGeom prst="round2DiagRect">
          <a:avLst>
            <a:gd name="adj1" fmla="val 29727"/>
            <a:gd name="adj2" fmla="val 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9ACBB8D-0980-4B10-B63F-4FF686843ADD}">
      <dsp:nvSpPr>
        <dsp:cNvPr id="0" name=""/>
        <dsp:cNvSpPr/>
      </dsp:nvSpPr>
      <dsp:spPr>
        <a:xfrm>
          <a:off x="4274503" y="381025"/>
          <a:ext cx="925312" cy="92531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497487D-70E1-46E6-9EAA-C26B52ED49C3}">
      <dsp:nvSpPr>
        <dsp:cNvPr id="0" name=""/>
        <dsp:cNvSpPr/>
      </dsp:nvSpPr>
      <dsp:spPr>
        <a:xfrm>
          <a:off x="818355" y="1967780"/>
          <a:ext cx="26437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b="0" i="0" kern="1200" baseline="0" dirty="0"/>
            <a:t>Doc 1 =&gt; NPMQ </a:t>
          </a:r>
          <a:endParaRPr lang="en-US" sz="1100" kern="1200" dirty="0"/>
        </a:p>
      </dsp:txBody>
      <dsp:txXfrm>
        <a:off x="818355" y="1967780"/>
        <a:ext cx="2643750" cy="720000"/>
      </dsp:txXfrm>
    </dsp:sp>
    <dsp:sp modelId="{136F0D8A-F576-47CC-B779-319EDF62A7E9}">
      <dsp:nvSpPr>
        <dsp:cNvPr id="0" name=""/>
        <dsp:cNvSpPr/>
      </dsp:nvSpPr>
      <dsp:spPr>
        <a:xfrm>
          <a:off x="2377612" y="3533275"/>
          <a:ext cx="1612687" cy="1612687"/>
        </a:xfrm>
        <a:prstGeom prst="round2DiagRect">
          <a:avLst>
            <a:gd name="adj1" fmla="val 29727"/>
            <a:gd name="adj2" fmla="val 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5CA3CA-8F9A-4B4D-9D7A-4C8C86AF8185}">
      <dsp:nvSpPr>
        <dsp:cNvPr id="0" name=""/>
        <dsp:cNvSpPr/>
      </dsp:nvSpPr>
      <dsp:spPr>
        <a:xfrm>
          <a:off x="2721300" y="3876962"/>
          <a:ext cx="925312" cy="92531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9BA8C03-22BE-49B2-8CDA-E1A016091C7D}">
      <dsp:nvSpPr>
        <dsp:cNvPr id="0" name=""/>
        <dsp:cNvSpPr/>
      </dsp:nvSpPr>
      <dsp:spPr>
        <a:xfrm>
          <a:off x="1862081" y="5648275"/>
          <a:ext cx="26437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b="0" i="0" kern="1200" baseline="0"/>
            <a:t>Doc 3 : =&gt; liste 23  </a:t>
          </a:r>
          <a:r>
            <a:rPr lang="en-US" sz="1100" b="0" i="0" kern="1200" baseline="0">
              <a:hlinkClick xmlns:r="http://schemas.openxmlformats.org/officeDocument/2006/relationships" r:id="rId7"/>
            </a:rPr>
            <a:t>https://ec.europa.eu/commission/presscorner/detail/fr/IP_19_781</a:t>
          </a:r>
          <a:r>
            <a:rPr lang="en-US" sz="1100" b="0" i="0" kern="1200" baseline="0"/>
            <a:t> </a:t>
          </a:r>
          <a:endParaRPr lang="en-US" sz="1100" kern="1200"/>
        </a:p>
      </dsp:txBody>
      <dsp:txXfrm>
        <a:off x="1862081" y="5648275"/>
        <a:ext cx="2643750"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4B4098-570F-4890-A54C-721607CE468C}">
      <dsp:nvSpPr>
        <dsp:cNvPr id="0" name=""/>
        <dsp:cNvSpPr/>
      </dsp:nvSpPr>
      <dsp:spPr>
        <a:xfrm>
          <a:off x="0" y="1247023"/>
          <a:ext cx="10576558" cy="2494046"/>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fr-FR" sz="3100" kern="1200" dirty="0">
              <a:latin typeface="Arial" panose="020B0604020202020204" pitchFamily="34" charset="0"/>
              <a:cs typeface="Arial" panose="020B0604020202020204" pitchFamily="34" charset="0"/>
            </a:rPr>
            <a:t>La comptabilité = </a:t>
          </a:r>
          <a:r>
            <a:rPr lang="fr-FR" sz="3100" b="0" i="0" kern="1200" dirty="0">
              <a:latin typeface="Arial" panose="020B0604020202020204" pitchFamily="34" charset="0"/>
              <a:cs typeface="Arial" panose="020B0604020202020204" pitchFamily="34" charset="0"/>
            </a:rPr>
            <a:t>langage + système d’information</a:t>
          </a:r>
        </a:p>
        <a:p>
          <a:pPr marL="0" lvl="0" indent="0" algn="ctr" defTabSz="1377950">
            <a:lnSpc>
              <a:spcPct val="90000"/>
            </a:lnSpc>
            <a:spcBef>
              <a:spcPct val="0"/>
            </a:spcBef>
            <a:spcAft>
              <a:spcPct val="35000"/>
            </a:spcAft>
            <a:buNone/>
          </a:pPr>
          <a:r>
            <a:rPr lang="fr-FR" sz="3100" b="0" i="0" kern="1200" dirty="0">
              <a:latin typeface="Arial" panose="020B0604020202020204" pitchFamily="34" charset="0"/>
              <a:cs typeface="Arial" panose="020B0604020202020204" pitchFamily="34" charset="0"/>
            </a:rPr>
            <a:t>Elle sert à communiquer</a:t>
          </a:r>
        </a:p>
        <a:p>
          <a:pPr marL="0" lvl="0" indent="0" algn="ctr" defTabSz="1377950">
            <a:lnSpc>
              <a:spcPct val="90000"/>
            </a:lnSpc>
            <a:spcBef>
              <a:spcPct val="0"/>
            </a:spcBef>
            <a:spcAft>
              <a:spcPct val="35000"/>
            </a:spcAft>
            <a:buNone/>
          </a:pPr>
          <a:r>
            <a:rPr lang="fr-FR" sz="3100" b="0" i="0" kern="1200" dirty="0">
              <a:latin typeface="Arial" panose="020B0604020202020204" pitchFamily="34" charset="0"/>
              <a:cs typeface="Arial" panose="020B0604020202020204" pitchFamily="34" charset="0"/>
            </a:rPr>
            <a:t>Objectif : établir les états financiers (Bilan, Compte de résultat et Annexes) selon des règles reconnues par tous</a:t>
          </a:r>
          <a:endParaRPr lang="fr-FR" sz="3100" kern="1200" dirty="0">
            <a:latin typeface="Arial" panose="020B0604020202020204" pitchFamily="34" charset="0"/>
            <a:cs typeface="Arial" panose="020B0604020202020204" pitchFamily="34" charset="0"/>
          </a:endParaRPr>
        </a:p>
      </dsp:txBody>
      <dsp:txXfrm>
        <a:off x="73048" y="1320071"/>
        <a:ext cx="10430462" cy="234795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A3DAA9-DB59-4706-A27B-466FAABE7F09}">
      <dsp:nvSpPr>
        <dsp:cNvPr id="0" name=""/>
        <dsp:cNvSpPr/>
      </dsp:nvSpPr>
      <dsp:spPr>
        <a:xfrm>
          <a:off x="1561710" y="608594"/>
          <a:ext cx="3208066" cy="1944000"/>
        </a:xfrm>
        <a:prstGeom prst="rect">
          <a:avLst/>
        </a:prstGeom>
        <a:blipFill>
          <a:blip xmlns:r="http://schemas.openxmlformats.org/officeDocument/2006/relationships" r:embed="rId1">
            <a:extLst>
              <a:ext uri="{837473B0-CC2E-450A-ABE3-18F120FF3D39}">
                <a1611:picAttrSrcUrl xmlns:a1611="http://schemas.microsoft.com/office/drawing/2016/11/main" r:id="rId2"/>
              </a:ext>
            </a:extLst>
          </a:blip>
          <a:srcRect/>
          <a:stretch>
            <a:fillRect l="-25000" r="-25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CFEC6EC-C75B-4D5F-BF78-3A7B6AC37F8F}">
      <dsp:nvSpPr>
        <dsp:cNvPr id="0" name=""/>
        <dsp:cNvSpPr/>
      </dsp:nvSpPr>
      <dsp:spPr>
        <a:xfrm>
          <a:off x="1005743" y="3022743"/>
          <a:ext cx="432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2044700">
            <a:lnSpc>
              <a:spcPct val="100000"/>
            </a:lnSpc>
            <a:spcBef>
              <a:spcPct val="0"/>
            </a:spcBef>
            <a:spcAft>
              <a:spcPct val="35000"/>
            </a:spcAft>
            <a:buNone/>
          </a:pPr>
          <a:r>
            <a:rPr lang="en-US" sz="4600" kern="1200" dirty="0"/>
            <a:t>Engagement</a:t>
          </a:r>
        </a:p>
      </dsp:txBody>
      <dsp:txXfrm>
        <a:off x="1005743" y="3022743"/>
        <a:ext cx="4320000" cy="720000"/>
      </dsp:txXfrm>
    </dsp:sp>
    <dsp:sp modelId="{36F343E4-A148-4814-80CB-87DAED571C9A}">
      <dsp:nvSpPr>
        <dsp:cNvPr id="0" name=""/>
        <dsp:cNvSpPr/>
      </dsp:nvSpPr>
      <dsp:spPr>
        <a:xfrm>
          <a:off x="6595350" y="608594"/>
          <a:ext cx="3292786" cy="1944000"/>
        </a:xfrm>
        <a:prstGeom prst="rect">
          <a:avLst/>
        </a:prstGeom>
        <a:blipFill>
          <a:blip xmlns:r="http://schemas.openxmlformats.org/officeDocument/2006/relationships" r:embed="rId3"/>
          <a:srcRect/>
          <a:stretch>
            <a:fillRect t="-6000" b="-6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9798EB1-FC90-4757-94C7-B1833DF5E1FC}">
      <dsp:nvSpPr>
        <dsp:cNvPr id="0" name=""/>
        <dsp:cNvSpPr/>
      </dsp:nvSpPr>
      <dsp:spPr>
        <a:xfrm>
          <a:off x="6081743" y="3022743"/>
          <a:ext cx="432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2044700">
            <a:lnSpc>
              <a:spcPct val="100000"/>
            </a:lnSpc>
            <a:spcBef>
              <a:spcPct val="0"/>
            </a:spcBef>
            <a:spcAft>
              <a:spcPct val="35000"/>
            </a:spcAft>
            <a:buNone/>
          </a:pPr>
          <a:r>
            <a:rPr lang="en-US" sz="4600" kern="1200" dirty="0" err="1"/>
            <a:t>Trésorerie</a:t>
          </a:r>
          <a:endParaRPr lang="en-US" sz="4600" kern="1200" dirty="0"/>
        </a:p>
      </dsp:txBody>
      <dsp:txXfrm>
        <a:off x="6081743" y="3022743"/>
        <a:ext cx="4320000" cy="7200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EE7A77-7406-4366-9AA4-D60B5DC38F70}">
      <dsp:nvSpPr>
        <dsp:cNvPr id="0" name=""/>
        <dsp:cNvSpPr/>
      </dsp:nvSpPr>
      <dsp:spPr>
        <a:xfrm>
          <a:off x="893024" y="0"/>
          <a:ext cx="1981687" cy="1100937"/>
        </a:xfrm>
        <a:prstGeom prst="roundRect">
          <a:avLst>
            <a:gd name="adj" fmla="val 1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fr-FR" sz="3700" kern="1200" dirty="0"/>
            <a:t>Charges</a:t>
          </a:r>
        </a:p>
      </dsp:txBody>
      <dsp:txXfrm>
        <a:off x="925269" y="32245"/>
        <a:ext cx="1917197" cy="1036447"/>
      </dsp:txXfrm>
    </dsp:sp>
    <dsp:sp modelId="{94CDDC10-5C70-453F-98D9-04E539E0D654}">
      <dsp:nvSpPr>
        <dsp:cNvPr id="0" name=""/>
        <dsp:cNvSpPr/>
      </dsp:nvSpPr>
      <dsp:spPr>
        <a:xfrm>
          <a:off x="3755462" y="0"/>
          <a:ext cx="1981687" cy="1100937"/>
        </a:xfrm>
        <a:prstGeom prst="roundRect">
          <a:avLst>
            <a:gd name="adj" fmla="val 1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fr-FR" sz="3700" kern="1200" dirty="0"/>
            <a:t>Produits</a:t>
          </a:r>
        </a:p>
      </dsp:txBody>
      <dsp:txXfrm>
        <a:off x="3787707" y="32245"/>
        <a:ext cx="1917197" cy="1036447"/>
      </dsp:txXfrm>
    </dsp:sp>
    <dsp:sp modelId="{EBFDB432-175A-4865-B005-5FD02B286222}">
      <dsp:nvSpPr>
        <dsp:cNvPr id="0" name=""/>
        <dsp:cNvSpPr/>
      </dsp:nvSpPr>
      <dsp:spPr>
        <a:xfrm>
          <a:off x="2902235" y="4678984"/>
          <a:ext cx="825703" cy="825703"/>
        </a:xfrm>
        <a:prstGeom prst="triangle">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6F620F7-A06F-4C1F-8D5B-3FAA892E0391}">
      <dsp:nvSpPr>
        <dsp:cNvPr id="0" name=""/>
        <dsp:cNvSpPr/>
      </dsp:nvSpPr>
      <dsp:spPr>
        <a:xfrm rot="240000">
          <a:off x="837220" y="4325161"/>
          <a:ext cx="4955732" cy="346538"/>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2C00E85-01BE-456D-B3C2-8F6F44B67E5D}">
      <dsp:nvSpPr>
        <dsp:cNvPr id="0" name=""/>
        <dsp:cNvSpPr/>
      </dsp:nvSpPr>
      <dsp:spPr>
        <a:xfrm rot="240000">
          <a:off x="3812707" y="3458730"/>
          <a:ext cx="1977290" cy="92121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fr-FR" sz="2300" kern="1200" dirty="0"/>
            <a:t>Produits exceptionnels</a:t>
          </a:r>
        </a:p>
      </dsp:txBody>
      <dsp:txXfrm>
        <a:off x="3857677" y="3503700"/>
        <a:ext cx="1887350" cy="831275"/>
      </dsp:txXfrm>
    </dsp:sp>
    <dsp:sp modelId="{9F9EB647-3380-4E36-B0C6-D8080DB6DC3C}">
      <dsp:nvSpPr>
        <dsp:cNvPr id="0" name=""/>
        <dsp:cNvSpPr/>
      </dsp:nvSpPr>
      <dsp:spPr>
        <a:xfrm rot="240000">
          <a:off x="3884268" y="2467886"/>
          <a:ext cx="1977290" cy="92121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fr-FR" sz="2300" kern="1200" dirty="0"/>
            <a:t>CA annexe</a:t>
          </a:r>
        </a:p>
      </dsp:txBody>
      <dsp:txXfrm>
        <a:off x="3929238" y="2512856"/>
        <a:ext cx="1887350" cy="831275"/>
      </dsp:txXfrm>
    </dsp:sp>
    <dsp:sp modelId="{A13A5796-10DD-4F3F-97B1-E3CAF6B089F4}">
      <dsp:nvSpPr>
        <dsp:cNvPr id="0" name=""/>
        <dsp:cNvSpPr/>
      </dsp:nvSpPr>
      <dsp:spPr>
        <a:xfrm rot="240000">
          <a:off x="3955829" y="1499061"/>
          <a:ext cx="1977290" cy="921215"/>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fr-FR" sz="2300" kern="1200" dirty="0"/>
            <a:t>CA</a:t>
          </a:r>
        </a:p>
      </dsp:txBody>
      <dsp:txXfrm>
        <a:off x="4000799" y="1544031"/>
        <a:ext cx="1887350" cy="831275"/>
      </dsp:txXfrm>
    </dsp:sp>
    <dsp:sp modelId="{7CD2F022-9C82-412D-BF75-7057A8E32AFF}">
      <dsp:nvSpPr>
        <dsp:cNvPr id="0" name=""/>
        <dsp:cNvSpPr/>
      </dsp:nvSpPr>
      <dsp:spPr>
        <a:xfrm rot="240000">
          <a:off x="977793" y="3260561"/>
          <a:ext cx="1977290" cy="92121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fr-FR" sz="2300" kern="1200" dirty="0"/>
            <a:t>Service</a:t>
          </a:r>
        </a:p>
      </dsp:txBody>
      <dsp:txXfrm>
        <a:off x="1022763" y="3305531"/>
        <a:ext cx="1887350" cy="831275"/>
      </dsp:txXfrm>
    </dsp:sp>
    <dsp:sp modelId="{18DC63FE-69FA-491E-8752-94E01F264C5E}">
      <dsp:nvSpPr>
        <dsp:cNvPr id="0" name=""/>
        <dsp:cNvSpPr/>
      </dsp:nvSpPr>
      <dsp:spPr>
        <a:xfrm rot="240000">
          <a:off x="1049354" y="2269717"/>
          <a:ext cx="1977290" cy="921215"/>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fr-FR" sz="2300" kern="1200" dirty="0"/>
            <a:t>Achats</a:t>
          </a:r>
        </a:p>
      </dsp:txBody>
      <dsp:txXfrm>
        <a:off x="1094324" y="2314687"/>
        <a:ext cx="1887350" cy="83127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DDD673-5AC0-4173-AEF5-8A89809B2B93}">
      <dsp:nvSpPr>
        <dsp:cNvPr id="0" name=""/>
        <dsp:cNvSpPr/>
      </dsp:nvSpPr>
      <dsp:spPr>
        <a:xfrm>
          <a:off x="1963800" y="503048"/>
          <a:ext cx="1512000" cy="1512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A57616E-3408-46FD-81EA-150FA493C34C}">
      <dsp:nvSpPr>
        <dsp:cNvPr id="0" name=""/>
        <dsp:cNvSpPr/>
      </dsp:nvSpPr>
      <dsp:spPr>
        <a:xfrm>
          <a:off x="559800" y="2159160"/>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600200">
            <a:lnSpc>
              <a:spcPct val="100000"/>
            </a:lnSpc>
            <a:spcBef>
              <a:spcPct val="0"/>
            </a:spcBef>
            <a:spcAft>
              <a:spcPct val="35000"/>
            </a:spcAft>
            <a:buNone/>
            <a:defRPr b="1"/>
          </a:pPr>
          <a:r>
            <a:rPr lang="fr-FR" sz="3600" kern="1200"/>
            <a:t>Charges</a:t>
          </a:r>
        </a:p>
      </dsp:txBody>
      <dsp:txXfrm>
        <a:off x="559800" y="2159160"/>
        <a:ext cx="4320000" cy="648000"/>
      </dsp:txXfrm>
    </dsp:sp>
    <dsp:sp modelId="{498BCE86-78BF-48E3-B49C-476E6B3CD622}">
      <dsp:nvSpPr>
        <dsp:cNvPr id="0" name=""/>
        <dsp:cNvSpPr/>
      </dsp:nvSpPr>
      <dsp:spPr>
        <a:xfrm>
          <a:off x="559800" y="2874188"/>
          <a:ext cx="4320000" cy="980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fr-FR" sz="1700" kern="1200" dirty="0"/>
            <a:t>Service</a:t>
          </a:r>
        </a:p>
        <a:p>
          <a:pPr marL="0" lvl="0" indent="0" algn="ctr" defTabSz="755650">
            <a:lnSpc>
              <a:spcPct val="100000"/>
            </a:lnSpc>
            <a:spcBef>
              <a:spcPct val="0"/>
            </a:spcBef>
            <a:spcAft>
              <a:spcPct val="35000"/>
            </a:spcAft>
            <a:buNone/>
          </a:pPr>
          <a:r>
            <a:rPr lang="fr-FR" sz="1700" kern="1200" dirty="0"/>
            <a:t>Achats</a:t>
          </a:r>
        </a:p>
      </dsp:txBody>
      <dsp:txXfrm>
        <a:off x="559800" y="2874188"/>
        <a:ext cx="4320000" cy="980286"/>
      </dsp:txXfrm>
    </dsp:sp>
    <dsp:sp modelId="{E3147F36-6FF2-478F-A3CE-8BE2D4F2D573}">
      <dsp:nvSpPr>
        <dsp:cNvPr id="0" name=""/>
        <dsp:cNvSpPr/>
      </dsp:nvSpPr>
      <dsp:spPr>
        <a:xfrm>
          <a:off x="7039800" y="503048"/>
          <a:ext cx="1512000" cy="1512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A896232-0547-47CF-9855-6412D86C8A5D}">
      <dsp:nvSpPr>
        <dsp:cNvPr id="0" name=""/>
        <dsp:cNvSpPr/>
      </dsp:nvSpPr>
      <dsp:spPr>
        <a:xfrm>
          <a:off x="5635800" y="2159160"/>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600200">
            <a:lnSpc>
              <a:spcPct val="100000"/>
            </a:lnSpc>
            <a:spcBef>
              <a:spcPct val="0"/>
            </a:spcBef>
            <a:spcAft>
              <a:spcPct val="35000"/>
            </a:spcAft>
            <a:buNone/>
            <a:defRPr b="1"/>
          </a:pPr>
          <a:r>
            <a:rPr lang="fr-FR" sz="3600" kern="1200"/>
            <a:t>Produits</a:t>
          </a:r>
        </a:p>
      </dsp:txBody>
      <dsp:txXfrm>
        <a:off x="5635800" y="2159160"/>
        <a:ext cx="4320000" cy="648000"/>
      </dsp:txXfrm>
    </dsp:sp>
    <dsp:sp modelId="{D20B35D2-D970-474C-8D4B-FA77DBAB3A64}">
      <dsp:nvSpPr>
        <dsp:cNvPr id="0" name=""/>
        <dsp:cNvSpPr/>
      </dsp:nvSpPr>
      <dsp:spPr>
        <a:xfrm>
          <a:off x="5635800" y="2874188"/>
          <a:ext cx="4320000" cy="980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fr-FR" sz="1700" kern="1200" dirty="0"/>
            <a:t>Produits exceptionnels</a:t>
          </a:r>
        </a:p>
        <a:p>
          <a:pPr marL="0" lvl="0" indent="0" algn="ctr" defTabSz="755650">
            <a:lnSpc>
              <a:spcPct val="100000"/>
            </a:lnSpc>
            <a:spcBef>
              <a:spcPct val="0"/>
            </a:spcBef>
            <a:spcAft>
              <a:spcPct val="35000"/>
            </a:spcAft>
            <a:buNone/>
          </a:pPr>
          <a:r>
            <a:rPr lang="fr-FR" sz="1700" kern="1200" dirty="0"/>
            <a:t>CA annexe</a:t>
          </a:r>
        </a:p>
        <a:p>
          <a:pPr marL="0" lvl="0" indent="0" algn="ctr" defTabSz="755650">
            <a:lnSpc>
              <a:spcPct val="100000"/>
            </a:lnSpc>
            <a:spcBef>
              <a:spcPct val="0"/>
            </a:spcBef>
            <a:spcAft>
              <a:spcPct val="35000"/>
            </a:spcAft>
            <a:buNone/>
          </a:pPr>
          <a:r>
            <a:rPr lang="fr-FR" sz="1700" kern="1200" dirty="0"/>
            <a:t>CA</a:t>
          </a:r>
        </a:p>
      </dsp:txBody>
      <dsp:txXfrm>
        <a:off x="5635800" y="2874188"/>
        <a:ext cx="4320000" cy="98028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60F32E-F128-4007-86D0-18B1ADC22BEC}">
      <dsp:nvSpPr>
        <dsp:cNvPr id="0" name=""/>
        <dsp:cNvSpPr/>
      </dsp:nvSpPr>
      <dsp:spPr>
        <a:xfrm>
          <a:off x="804" y="847751"/>
          <a:ext cx="2822091" cy="17920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790600-121B-4230-A11C-F5C6CD593A36}">
      <dsp:nvSpPr>
        <dsp:cNvPr id="0" name=""/>
        <dsp:cNvSpPr/>
      </dsp:nvSpPr>
      <dsp:spPr>
        <a:xfrm>
          <a:off x="314369" y="1145639"/>
          <a:ext cx="2822091" cy="17920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dirty="0"/>
            <a:t>Les charges</a:t>
          </a:r>
        </a:p>
      </dsp:txBody>
      <dsp:txXfrm>
        <a:off x="366856" y="1198126"/>
        <a:ext cx="2717117" cy="1687054"/>
      </dsp:txXfrm>
    </dsp:sp>
    <dsp:sp modelId="{98E64413-4A92-4FF2-A7AB-0D641E733D7A}">
      <dsp:nvSpPr>
        <dsp:cNvPr id="0" name=""/>
        <dsp:cNvSpPr/>
      </dsp:nvSpPr>
      <dsp:spPr>
        <a:xfrm>
          <a:off x="3450027" y="847751"/>
          <a:ext cx="2822091" cy="17920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CB8C87-9047-485C-9BFD-16F9A0E917D2}">
      <dsp:nvSpPr>
        <dsp:cNvPr id="0" name=""/>
        <dsp:cNvSpPr/>
      </dsp:nvSpPr>
      <dsp:spPr>
        <a:xfrm>
          <a:off x="3763593" y="1145639"/>
          <a:ext cx="2822091" cy="17920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en-US" sz="4700" kern="1200" dirty="0"/>
            <a:t>Les </a:t>
          </a:r>
          <a:r>
            <a:rPr lang="en-US" sz="4700" kern="1200" dirty="0" err="1"/>
            <a:t>produits</a:t>
          </a:r>
          <a:endParaRPr lang="en-US" sz="4700" kern="1200" dirty="0"/>
        </a:p>
      </dsp:txBody>
      <dsp:txXfrm>
        <a:off x="3816080" y="1198126"/>
        <a:ext cx="2717117" cy="1687054"/>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6.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layout8.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C74E31-4102-4DAB-AA30-205A8BC854D4}" type="datetimeFigureOut">
              <a:rPr lang="fr-FR" smtClean="0"/>
              <a:t>26/02/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99E81F-EEE6-4E3A-AE16-C0BE10FF1680}" type="slidenum">
              <a:rPr lang="fr-FR" smtClean="0"/>
              <a:t>‹N°›</a:t>
            </a:fld>
            <a:endParaRPr lang="fr-FR"/>
          </a:p>
        </p:txBody>
      </p:sp>
    </p:spTree>
    <p:extLst>
      <p:ext uri="{BB962C8B-B14F-4D97-AF65-F5344CB8AC3E}">
        <p14:creationId xmlns:p14="http://schemas.microsoft.com/office/powerpoint/2010/main" val="32654023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a:t>
            </a:fld>
            <a:endParaRPr lang="fr-FR" dirty="0"/>
          </a:p>
        </p:txBody>
      </p:sp>
    </p:spTree>
    <p:extLst>
      <p:ext uri="{BB962C8B-B14F-4D97-AF65-F5344CB8AC3E}">
        <p14:creationId xmlns:p14="http://schemas.microsoft.com/office/powerpoint/2010/main" val="2466770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5</a:t>
            </a:fld>
            <a:endParaRPr lang="fr-FR" dirty="0"/>
          </a:p>
        </p:txBody>
      </p:sp>
    </p:spTree>
    <p:extLst>
      <p:ext uri="{BB962C8B-B14F-4D97-AF65-F5344CB8AC3E}">
        <p14:creationId xmlns:p14="http://schemas.microsoft.com/office/powerpoint/2010/main" val="295464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Quelle différence fondamentale entre IAS et IFRS =&gt; lien avec juste valeur =&gt; financier a la place de comptable</a:t>
            </a:r>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15575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Quelle différence fondamentale entre IAS et IFRS =&gt; lien avec juste valeur =&gt; financier a la place de comptable</a:t>
            </a:r>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62658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8</a:t>
            </a:fld>
            <a:endParaRPr lang="fr-FR" dirty="0"/>
          </a:p>
        </p:txBody>
      </p:sp>
    </p:spTree>
    <p:extLst>
      <p:ext uri="{BB962C8B-B14F-4D97-AF65-F5344CB8AC3E}">
        <p14:creationId xmlns:p14="http://schemas.microsoft.com/office/powerpoint/2010/main" val="5765936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Quelle différence fondamentale entre IAS et IFRS =&gt; lien avec juste valeur =&gt; financier a la place de comptable</a:t>
            </a:r>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05187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Quelle différence fondamentale entre IAS et IFRS =&gt; lien avec juste valeur =&gt; financier a la place de comptable</a:t>
            </a:r>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1676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21</a:t>
            </a:fld>
            <a:endParaRPr lang="fr-FR" dirty="0"/>
          </a:p>
        </p:txBody>
      </p:sp>
    </p:spTree>
    <p:extLst>
      <p:ext uri="{BB962C8B-B14F-4D97-AF65-F5344CB8AC3E}">
        <p14:creationId xmlns:p14="http://schemas.microsoft.com/office/powerpoint/2010/main" val="23689844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Tout le monde répond</a:t>
            </a:r>
          </a:p>
          <a:p>
            <a:pPr marL="228600" indent="-228600">
              <a:buAutoNum type="arabicParenR"/>
            </a:pPr>
            <a:r>
              <a:rPr lang="fr-FR" dirty="0"/>
              <a:t>Aucun piège</a:t>
            </a:r>
          </a:p>
          <a:p>
            <a:pPr marL="228600" indent="-228600">
              <a:buAutoNum type="arabicParenR"/>
            </a:pPr>
            <a:r>
              <a:rPr lang="fr-FR" dirty="0"/>
              <a:t>2Attention stocké ou non stocké</a:t>
            </a:r>
          </a:p>
          <a:p>
            <a:pPr marL="228600" indent="-228600">
              <a:buAutoNum type="arabicParenR"/>
            </a:pPr>
            <a:r>
              <a:rPr lang="fr-FR" dirty="0"/>
              <a:t>Attention 2183/6063/ ou pourquoi pas 607</a:t>
            </a:r>
          </a:p>
        </p:txBody>
      </p:sp>
      <p:sp>
        <p:nvSpPr>
          <p:cNvPr id="4" name="Espace réservé du numéro de diapositive 3"/>
          <p:cNvSpPr>
            <a:spLocks noGrp="1"/>
          </p:cNvSpPr>
          <p:nvPr>
            <p:ph type="sldNum" sz="quarter" idx="5"/>
          </p:nvPr>
        </p:nvSpPr>
        <p:spPr/>
        <p:txBody>
          <a:bodyPr/>
          <a:lstStyle/>
          <a:p>
            <a:fld id="{E0746DE6-3336-457D-A091-FA20AC1C536E}" type="slidenum">
              <a:rPr lang="en-US" smtClean="0"/>
              <a:t>22</a:t>
            </a:fld>
            <a:endParaRPr lang="en-US"/>
          </a:p>
        </p:txBody>
      </p:sp>
    </p:spTree>
    <p:extLst>
      <p:ext uri="{BB962C8B-B14F-4D97-AF65-F5344CB8AC3E}">
        <p14:creationId xmlns:p14="http://schemas.microsoft.com/office/powerpoint/2010/main" val="30791085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23</a:t>
            </a:fld>
            <a:endParaRPr lang="fr-FR" dirty="0"/>
          </a:p>
        </p:txBody>
      </p:sp>
    </p:spTree>
    <p:extLst>
      <p:ext uri="{BB962C8B-B14F-4D97-AF65-F5344CB8AC3E}">
        <p14:creationId xmlns:p14="http://schemas.microsoft.com/office/powerpoint/2010/main" val="21977076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Tout le monde répond</a:t>
            </a:r>
          </a:p>
          <a:p>
            <a:pPr marL="228600" indent="-228600">
              <a:buAutoNum type="arabicParenR"/>
            </a:pPr>
            <a:r>
              <a:rPr lang="fr-FR" dirty="0"/>
              <a:t>Aucun piège</a:t>
            </a:r>
          </a:p>
          <a:p>
            <a:pPr marL="228600" indent="-228600">
              <a:buAutoNum type="arabicParenR"/>
            </a:pPr>
            <a:r>
              <a:rPr lang="fr-FR" dirty="0"/>
              <a:t>2Attention stocké ou non stocké</a:t>
            </a:r>
          </a:p>
          <a:p>
            <a:pPr marL="228600" indent="-228600">
              <a:buAutoNum type="arabicParenR"/>
            </a:pPr>
            <a:r>
              <a:rPr lang="fr-FR" dirty="0"/>
              <a:t>Attention 2183/6063/ ou pourquoi pas 607</a:t>
            </a:r>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4396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3</a:t>
            </a:fld>
            <a:endParaRPr lang="fr-FR" dirty="0"/>
          </a:p>
        </p:txBody>
      </p:sp>
    </p:spTree>
    <p:extLst>
      <p:ext uri="{BB962C8B-B14F-4D97-AF65-F5344CB8AC3E}">
        <p14:creationId xmlns:p14="http://schemas.microsoft.com/office/powerpoint/2010/main" val="13027208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25</a:t>
            </a:fld>
            <a:endParaRPr lang="fr-FR" dirty="0"/>
          </a:p>
        </p:txBody>
      </p:sp>
    </p:spTree>
    <p:extLst>
      <p:ext uri="{BB962C8B-B14F-4D97-AF65-F5344CB8AC3E}">
        <p14:creationId xmlns:p14="http://schemas.microsoft.com/office/powerpoint/2010/main" val="8325887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2497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33457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57204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31367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1121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32</a:t>
            </a:fld>
            <a:endParaRPr lang="fr-FR" dirty="0"/>
          </a:p>
        </p:txBody>
      </p:sp>
    </p:spTree>
    <p:extLst>
      <p:ext uri="{BB962C8B-B14F-4D97-AF65-F5344CB8AC3E}">
        <p14:creationId xmlns:p14="http://schemas.microsoft.com/office/powerpoint/2010/main" val="24038242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33</a:t>
            </a:fld>
            <a:endParaRPr lang="fr-FR" dirty="0"/>
          </a:p>
        </p:txBody>
      </p:sp>
    </p:spTree>
    <p:extLst>
      <p:ext uri="{BB962C8B-B14F-4D97-AF65-F5344CB8AC3E}">
        <p14:creationId xmlns:p14="http://schemas.microsoft.com/office/powerpoint/2010/main" val="7385868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20264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35</a:t>
            </a:fld>
            <a:endParaRPr lang="fr-FR" dirty="0"/>
          </a:p>
        </p:txBody>
      </p:sp>
    </p:spTree>
    <p:extLst>
      <p:ext uri="{BB962C8B-B14F-4D97-AF65-F5344CB8AC3E}">
        <p14:creationId xmlns:p14="http://schemas.microsoft.com/office/powerpoint/2010/main" val="1597839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6</a:t>
            </a:fld>
            <a:endParaRPr lang="fr-FR" dirty="0"/>
          </a:p>
        </p:txBody>
      </p:sp>
    </p:spTree>
    <p:extLst>
      <p:ext uri="{BB962C8B-B14F-4D97-AF65-F5344CB8AC3E}">
        <p14:creationId xmlns:p14="http://schemas.microsoft.com/office/powerpoint/2010/main" val="9284893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10023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7409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881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39</a:t>
            </a:fld>
            <a:endParaRPr lang="fr-FR" dirty="0"/>
          </a:p>
        </p:txBody>
      </p:sp>
    </p:spTree>
    <p:extLst>
      <p:ext uri="{BB962C8B-B14F-4D97-AF65-F5344CB8AC3E}">
        <p14:creationId xmlns:p14="http://schemas.microsoft.com/office/powerpoint/2010/main" val="38805424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40</a:t>
            </a:fld>
            <a:endParaRPr lang="fr-FR" dirty="0"/>
          </a:p>
        </p:txBody>
      </p:sp>
    </p:spTree>
    <p:extLst>
      <p:ext uri="{BB962C8B-B14F-4D97-AF65-F5344CB8AC3E}">
        <p14:creationId xmlns:p14="http://schemas.microsoft.com/office/powerpoint/2010/main" val="15153969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41</a:t>
            </a:fld>
            <a:endParaRPr lang="fr-FR" dirty="0"/>
          </a:p>
        </p:txBody>
      </p:sp>
    </p:spTree>
    <p:extLst>
      <p:ext uri="{BB962C8B-B14F-4D97-AF65-F5344CB8AC3E}">
        <p14:creationId xmlns:p14="http://schemas.microsoft.com/office/powerpoint/2010/main" val="374781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42</a:t>
            </a:fld>
            <a:endParaRPr lang="fr-FR" dirty="0"/>
          </a:p>
        </p:txBody>
      </p:sp>
    </p:spTree>
    <p:extLst>
      <p:ext uri="{BB962C8B-B14F-4D97-AF65-F5344CB8AC3E}">
        <p14:creationId xmlns:p14="http://schemas.microsoft.com/office/powerpoint/2010/main" val="37074570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43</a:t>
            </a:fld>
            <a:endParaRPr lang="fr-FR" dirty="0"/>
          </a:p>
        </p:txBody>
      </p:sp>
    </p:spTree>
    <p:extLst>
      <p:ext uri="{BB962C8B-B14F-4D97-AF65-F5344CB8AC3E}">
        <p14:creationId xmlns:p14="http://schemas.microsoft.com/office/powerpoint/2010/main" val="39191224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44</a:t>
            </a:fld>
            <a:endParaRPr lang="fr-FR" dirty="0"/>
          </a:p>
        </p:txBody>
      </p:sp>
    </p:spTree>
    <p:extLst>
      <p:ext uri="{BB962C8B-B14F-4D97-AF65-F5344CB8AC3E}">
        <p14:creationId xmlns:p14="http://schemas.microsoft.com/office/powerpoint/2010/main" val="24362645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45</a:t>
            </a:fld>
            <a:endParaRPr lang="fr-FR" dirty="0"/>
          </a:p>
        </p:txBody>
      </p:sp>
    </p:spTree>
    <p:extLst>
      <p:ext uri="{BB962C8B-B14F-4D97-AF65-F5344CB8AC3E}">
        <p14:creationId xmlns:p14="http://schemas.microsoft.com/office/powerpoint/2010/main" val="4190072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9</a:t>
            </a:fld>
            <a:endParaRPr lang="fr-FR" dirty="0"/>
          </a:p>
        </p:txBody>
      </p:sp>
    </p:spTree>
    <p:extLst>
      <p:ext uri="{BB962C8B-B14F-4D97-AF65-F5344CB8AC3E}">
        <p14:creationId xmlns:p14="http://schemas.microsoft.com/office/powerpoint/2010/main" val="37125218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0</a:t>
            </a:fld>
            <a:endParaRPr lang="fr-FR" dirty="0"/>
          </a:p>
        </p:txBody>
      </p:sp>
    </p:spTree>
    <p:extLst>
      <p:ext uri="{BB962C8B-B14F-4D97-AF65-F5344CB8AC3E}">
        <p14:creationId xmlns:p14="http://schemas.microsoft.com/office/powerpoint/2010/main" val="13137443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1</a:t>
            </a:fld>
            <a:endParaRPr lang="fr-FR" dirty="0"/>
          </a:p>
        </p:txBody>
      </p:sp>
    </p:spTree>
    <p:extLst>
      <p:ext uri="{BB962C8B-B14F-4D97-AF65-F5344CB8AC3E}">
        <p14:creationId xmlns:p14="http://schemas.microsoft.com/office/powerpoint/2010/main" val="4274812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2</a:t>
            </a:fld>
            <a:endParaRPr lang="fr-FR" dirty="0"/>
          </a:p>
        </p:txBody>
      </p:sp>
    </p:spTree>
    <p:extLst>
      <p:ext uri="{BB962C8B-B14F-4D97-AF65-F5344CB8AC3E}">
        <p14:creationId xmlns:p14="http://schemas.microsoft.com/office/powerpoint/2010/main" val="3605028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3</a:t>
            </a:fld>
            <a:endParaRPr lang="fr-FR" dirty="0"/>
          </a:p>
        </p:txBody>
      </p:sp>
    </p:spTree>
    <p:extLst>
      <p:ext uri="{BB962C8B-B14F-4D97-AF65-F5344CB8AC3E}">
        <p14:creationId xmlns:p14="http://schemas.microsoft.com/office/powerpoint/2010/main" val="2568797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4</a:t>
            </a:fld>
            <a:endParaRPr lang="fr-FR" dirty="0"/>
          </a:p>
        </p:txBody>
      </p:sp>
    </p:spTree>
    <p:extLst>
      <p:ext uri="{BB962C8B-B14F-4D97-AF65-F5344CB8AC3E}">
        <p14:creationId xmlns:p14="http://schemas.microsoft.com/office/powerpoint/2010/main" val="40145017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7BD57D-84CD-4DA6-ACCF-8CEC063D82AC}"/>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9D19402C-4986-4F03-B149-B59478CBC5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316A17A5-4404-44D9-B645-2177629EB8B7}"/>
              </a:ext>
            </a:extLst>
          </p:cNvPr>
          <p:cNvSpPr>
            <a:spLocks noGrp="1"/>
          </p:cNvSpPr>
          <p:nvPr>
            <p:ph type="dt" sz="half" idx="10"/>
          </p:nvPr>
        </p:nvSpPr>
        <p:spPr/>
        <p:txBody>
          <a:bodyPr/>
          <a:lstStyle/>
          <a:p>
            <a:fld id="{B4AAC662-8F7E-46FF-BF45-54D2733F0C8C}" type="datetimeFigureOut">
              <a:rPr lang="fr-FR" smtClean="0"/>
              <a:t>26/02/2021</a:t>
            </a:fld>
            <a:endParaRPr lang="fr-FR"/>
          </a:p>
        </p:txBody>
      </p:sp>
      <p:sp>
        <p:nvSpPr>
          <p:cNvPr id="5" name="Espace réservé du pied de page 4">
            <a:extLst>
              <a:ext uri="{FF2B5EF4-FFF2-40B4-BE49-F238E27FC236}">
                <a16:creationId xmlns:a16="http://schemas.microsoft.com/office/drawing/2014/main" id="{8036A295-F235-411B-8653-78D5CFEBA5D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4D0148C-2377-437A-9B96-C1D01D45C6C1}"/>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39924178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CF77D9-A2E2-47AF-9DA6-3E88E50EDD37}"/>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2BF1DE80-A284-4C12-8998-96E09ECD2B3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39B5A0B-FBB5-4756-860F-875AB0CB7452}"/>
              </a:ext>
            </a:extLst>
          </p:cNvPr>
          <p:cNvSpPr>
            <a:spLocks noGrp="1"/>
          </p:cNvSpPr>
          <p:nvPr>
            <p:ph type="dt" sz="half" idx="10"/>
          </p:nvPr>
        </p:nvSpPr>
        <p:spPr/>
        <p:txBody>
          <a:bodyPr/>
          <a:lstStyle/>
          <a:p>
            <a:fld id="{B4AAC662-8F7E-46FF-BF45-54D2733F0C8C}" type="datetimeFigureOut">
              <a:rPr lang="fr-FR" smtClean="0"/>
              <a:t>26/02/2021</a:t>
            </a:fld>
            <a:endParaRPr lang="fr-FR"/>
          </a:p>
        </p:txBody>
      </p:sp>
      <p:sp>
        <p:nvSpPr>
          <p:cNvPr id="5" name="Espace réservé du pied de page 4">
            <a:extLst>
              <a:ext uri="{FF2B5EF4-FFF2-40B4-BE49-F238E27FC236}">
                <a16:creationId xmlns:a16="http://schemas.microsoft.com/office/drawing/2014/main" id="{442CC808-89A4-47E4-B295-3F9116F8297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D55BD20-72DC-487C-8B40-787775EBCBD7}"/>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925480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C2353EA2-D366-4F02-B08A-5FEED95BD9E3}"/>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94DA6CD5-251E-4DFA-B380-5EB213029465}"/>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85B917B-2B60-4988-B84F-D3AFCB1DD9D0}"/>
              </a:ext>
            </a:extLst>
          </p:cNvPr>
          <p:cNvSpPr>
            <a:spLocks noGrp="1"/>
          </p:cNvSpPr>
          <p:nvPr>
            <p:ph type="dt" sz="half" idx="10"/>
          </p:nvPr>
        </p:nvSpPr>
        <p:spPr/>
        <p:txBody>
          <a:bodyPr/>
          <a:lstStyle/>
          <a:p>
            <a:fld id="{B4AAC662-8F7E-46FF-BF45-54D2733F0C8C}" type="datetimeFigureOut">
              <a:rPr lang="fr-FR" smtClean="0"/>
              <a:t>26/02/2021</a:t>
            </a:fld>
            <a:endParaRPr lang="fr-FR"/>
          </a:p>
        </p:txBody>
      </p:sp>
      <p:sp>
        <p:nvSpPr>
          <p:cNvPr id="5" name="Espace réservé du pied de page 4">
            <a:extLst>
              <a:ext uri="{FF2B5EF4-FFF2-40B4-BE49-F238E27FC236}">
                <a16:creationId xmlns:a16="http://schemas.microsoft.com/office/drawing/2014/main" id="{9FB53DFA-3E34-4A01-A1E8-6D7B7445732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8A9D7E8-2346-4B4B-9CF9-1C67D6668CF8}"/>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15622623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fr-FR"/>
              <a:t>Modifiez le style du titre</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26/2021</a:t>
            </a:fld>
            <a:endParaRPr lang="en-US" dirty="0"/>
          </a:p>
        </p:txBody>
      </p:sp>
      <p:sp>
        <p:nvSpPr>
          <p:cNvPr id="5" name="Footer Placeholder 4"/>
          <p:cNvSpPr>
            <a:spLocks noGrp="1"/>
          </p:cNvSpPr>
          <p:nvPr>
            <p:ph type="ftr" sz="quarter" idx="11"/>
          </p:nvPr>
        </p:nvSpPr>
        <p:spPr>
          <a:xfrm>
            <a:off x="2416500" y="329307"/>
            <a:ext cx="4973915" cy="309201"/>
          </a:xfrm>
        </p:spPr>
        <p:txBody>
          <a:bodyPr/>
          <a:lstStyle/>
          <a:p>
            <a:endParaRPr lang="en-US" dirty="0"/>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N°›</a:t>
            </a:fld>
            <a:endParaRPr lang="en-US" dirty="0"/>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9050331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ncho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1227660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fr-FR"/>
              <a:t>Modifiez le style du titre</a:t>
            </a:r>
            <a:endParaRPr lang="en-US" dirty="0"/>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48A87A34-81AB-432B-8DAE-1953F412C126}" type="datetimeFigureOut">
              <a:rPr lang="en-US" dirty="0"/>
              <a:t>2/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179278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fr-FR"/>
              <a:t>Modifiez le style du titre</a:t>
            </a:r>
            <a:endParaRPr lang="en-US" dirty="0"/>
          </a:p>
        </p:txBody>
      </p:sp>
      <p:sp>
        <p:nvSpPr>
          <p:cNvPr id="3" name="Content Placeholder 2"/>
          <p:cNvSpPr>
            <a:spLocks noGrp="1"/>
          </p:cNvSpPr>
          <p:nvPr>
            <p:ph sz="half" idx="1"/>
          </p:nvPr>
        </p:nvSpPr>
        <p:spPr>
          <a:xfrm>
            <a:off x="1447331" y="2010878"/>
            <a:ext cx="4645152" cy="344859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2/26/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901030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fr-FR"/>
              <a:t>Modifiez le style du titre</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Content Placeholder 3"/>
          <p:cNvSpPr>
            <a:spLocks noGrp="1"/>
          </p:cNvSpPr>
          <p:nvPr>
            <p:ph sz="half" idx="2"/>
          </p:nvPr>
        </p:nvSpPr>
        <p:spPr>
          <a:xfrm>
            <a:off x="1447191" y="2824269"/>
            <a:ext cx="4645152" cy="26444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Content Placeholder 5"/>
          <p:cNvSpPr>
            <a:spLocks noGrp="1"/>
          </p:cNvSpPr>
          <p:nvPr>
            <p:ph sz="quarter" idx="4"/>
          </p:nvPr>
        </p:nvSpPr>
        <p:spPr>
          <a:xfrm>
            <a:off x="6412362" y="2821491"/>
            <a:ext cx="4645152" cy="263737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2/26/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N°›</a:t>
            </a:fld>
            <a:endParaRPr lang="en-US" dirty="0"/>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1888894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2/26/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a:t>
            </a:fld>
            <a:endParaRPr lang="en-US" dirty="0"/>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082313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2/26/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N°›</a:t>
            </a:fld>
            <a:endParaRPr lang="en-US" dirty="0"/>
          </a:p>
        </p:txBody>
      </p:sp>
    </p:spTree>
    <p:extLst>
      <p:ext uri="{BB962C8B-B14F-4D97-AF65-F5344CB8AC3E}">
        <p14:creationId xmlns:p14="http://schemas.microsoft.com/office/powerpoint/2010/main" val="24819964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fr-FR"/>
              <a:t>Modifiez le style du titre</a:t>
            </a:r>
            <a:endParaRPr lang="en-US" dirty="0"/>
          </a:p>
        </p:txBody>
      </p:sp>
      <p:sp>
        <p:nvSpPr>
          <p:cNvPr id="3" name="Content Placeholder 2"/>
          <p:cNvSpPr>
            <a:spLocks noGrp="1"/>
          </p:cNvSpPr>
          <p:nvPr>
            <p:ph idx="1"/>
          </p:nvPr>
        </p:nvSpPr>
        <p:spPr>
          <a:xfrm>
            <a:off x="5043714" y="798974"/>
            <a:ext cx="6012470" cy="4658826"/>
          </a:xfrm>
        </p:spPr>
        <p:txBody>
          <a:bodyPr anchor="ct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48A87A34-81AB-432B-8DAE-1953F412C126}" type="datetimeFigureOut">
              <a:rPr lang="en-US" dirty="0"/>
              <a:t>2/26/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00619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CD533BA-64DD-46E7-AC37-8284A1B923A3}"/>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C5FA018E-EDA2-4960-8996-9D0F0B37136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1E258E7-ED34-4740-9A51-3EF63654899D}"/>
              </a:ext>
            </a:extLst>
          </p:cNvPr>
          <p:cNvSpPr>
            <a:spLocks noGrp="1"/>
          </p:cNvSpPr>
          <p:nvPr>
            <p:ph type="dt" sz="half" idx="10"/>
          </p:nvPr>
        </p:nvSpPr>
        <p:spPr/>
        <p:txBody>
          <a:bodyPr/>
          <a:lstStyle/>
          <a:p>
            <a:fld id="{B4AAC662-8F7E-46FF-BF45-54D2733F0C8C}" type="datetimeFigureOut">
              <a:rPr lang="fr-FR" smtClean="0"/>
              <a:t>26/02/2021</a:t>
            </a:fld>
            <a:endParaRPr lang="fr-FR"/>
          </a:p>
        </p:txBody>
      </p:sp>
      <p:sp>
        <p:nvSpPr>
          <p:cNvPr id="5" name="Espace réservé du pied de page 4">
            <a:extLst>
              <a:ext uri="{FF2B5EF4-FFF2-40B4-BE49-F238E27FC236}">
                <a16:creationId xmlns:a16="http://schemas.microsoft.com/office/drawing/2014/main" id="{FE4DA7DE-70E6-4FC4-AEB8-2B4A9102889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74F055B-A12A-40C8-913E-87AC2D74D609}"/>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16942643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fr-FR"/>
              <a:t>Modifiez le style du titre</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US" dirty="0"/>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pPr/>
              <a:t>2/26/2021</a:t>
            </a:fld>
            <a:endParaRPr lang="en-US" dirty="0"/>
          </a:p>
        </p:txBody>
      </p:sp>
      <p:sp>
        <p:nvSpPr>
          <p:cNvPr id="6" name="Footer Placeholder 5"/>
          <p:cNvSpPr>
            <a:spLocks noGrp="1"/>
          </p:cNvSpPr>
          <p:nvPr>
            <p:ph type="ftr" sz="quarter" idx="11"/>
          </p:nvPr>
        </p:nvSpPr>
        <p:spPr>
          <a:xfrm>
            <a:off x="1447382" y="318640"/>
            <a:ext cx="5541004" cy="320931"/>
          </a:xfrm>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266164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304371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fr-FR"/>
              <a:t>Modifiez le style du titre</a:t>
            </a:r>
            <a:endParaRPr lang="en-US" dirty="0"/>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5661508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a:t>Modifiez le style du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26/02/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9939147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26/02/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3455445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26/02/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3408427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73302334-7E8B-4320-A1E2-4B05AC15A670}" type="datetimeFigureOut">
              <a:rPr lang="fr-FR" smtClean="0"/>
              <a:pPr/>
              <a:t>26/02/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1277953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73302334-7E8B-4320-A1E2-4B05AC15A670}" type="datetimeFigureOut">
              <a:rPr lang="fr-FR" smtClean="0"/>
              <a:pPr/>
              <a:t>26/02/2021</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1163619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73302334-7E8B-4320-A1E2-4B05AC15A670}" type="datetimeFigureOut">
              <a:rPr lang="fr-FR" smtClean="0"/>
              <a:pPr/>
              <a:t>26/02/2021</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42476182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3302334-7E8B-4320-A1E2-4B05AC15A670}" type="datetimeFigureOut">
              <a:rPr lang="fr-FR" smtClean="0"/>
              <a:pPr/>
              <a:t>26/02/2021</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764242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A53301-5DB9-4753-ABD4-856DD5147A9D}"/>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86065A32-834F-432D-A0D3-7ECBC848C5A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A616BCDE-E203-48ED-B45F-9D93DC3EF895}"/>
              </a:ext>
            </a:extLst>
          </p:cNvPr>
          <p:cNvSpPr>
            <a:spLocks noGrp="1"/>
          </p:cNvSpPr>
          <p:nvPr>
            <p:ph type="dt" sz="half" idx="10"/>
          </p:nvPr>
        </p:nvSpPr>
        <p:spPr/>
        <p:txBody>
          <a:bodyPr/>
          <a:lstStyle/>
          <a:p>
            <a:fld id="{B4AAC662-8F7E-46FF-BF45-54D2733F0C8C}" type="datetimeFigureOut">
              <a:rPr lang="fr-FR" smtClean="0"/>
              <a:t>26/02/2021</a:t>
            </a:fld>
            <a:endParaRPr lang="fr-FR"/>
          </a:p>
        </p:txBody>
      </p:sp>
      <p:sp>
        <p:nvSpPr>
          <p:cNvPr id="5" name="Espace réservé du pied de page 4">
            <a:extLst>
              <a:ext uri="{FF2B5EF4-FFF2-40B4-BE49-F238E27FC236}">
                <a16:creationId xmlns:a16="http://schemas.microsoft.com/office/drawing/2014/main" id="{944B27C3-8E90-44EF-B2A0-1D4A9700A96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5169281-95B4-43D4-BD98-2009AB077C07}"/>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2686540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73302334-7E8B-4320-A1E2-4B05AC15A670}" type="datetimeFigureOut">
              <a:rPr lang="fr-FR" smtClean="0"/>
              <a:pPr/>
              <a:t>26/02/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6220701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73302334-7E8B-4320-A1E2-4B05AC15A670}" type="datetimeFigureOut">
              <a:rPr lang="fr-FR" smtClean="0"/>
              <a:pPr/>
              <a:t>26/02/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8929496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26/02/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9750211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26/02/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5231673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3EE1FC-395B-4804-BCED-98B869CA3729}"/>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D30819D-33A8-4726-B505-831ADB90F9E3}"/>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C727D8D7-37DF-475A-8F8B-107336CE7F12}"/>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626DA209-39AA-44B8-BA06-71668A7279E1}"/>
              </a:ext>
            </a:extLst>
          </p:cNvPr>
          <p:cNvSpPr>
            <a:spLocks noGrp="1"/>
          </p:cNvSpPr>
          <p:nvPr>
            <p:ph type="dt" sz="half" idx="10"/>
          </p:nvPr>
        </p:nvSpPr>
        <p:spPr/>
        <p:txBody>
          <a:bodyPr/>
          <a:lstStyle/>
          <a:p>
            <a:fld id="{B4AAC662-8F7E-46FF-BF45-54D2733F0C8C}" type="datetimeFigureOut">
              <a:rPr lang="fr-FR" smtClean="0"/>
              <a:t>26/02/2021</a:t>
            </a:fld>
            <a:endParaRPr lang="fr-FR"/>
          </a:p>
        </p:txBody>
      </p:sp>
      <p:sp>
        <p:nvSpPr>
          <p:cNvPr id="6" name="Espace réservé du pied de page 5">
            <a:extLst>
              <a:ext uri="{FF2B5EF4-FFF2-40B4-BE49-F238E27FC236}">
                <a16:creationId xmlns:a16="http://schemas.microsoft.com/office/drawing/2014/main" id="{3E701A22-5ACC-4505-9A5B-EFFCF1BEE098}"/>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5A5BF9EC-FDAE-4527-A964-C32D4D885604}"/>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2672459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E377DA-C3AC-4A42-9312-85C3B28A1D8D}"/>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8EECFD34-CCC4-4C10-95D2-1DCC3D87556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4D248D42-AEE2-48BB-B8A6-37B3BF1EC785}"/>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EFF54CA6-B4B3-4EBE-BAA9-8A083AD04B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CB67F1B9-3210-4603-A593-82AA14779770}"/>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A4FE2936-F0AC-4E86-9BB9-6C88937F1738}"/>
              </a:ext>
            </a:extLst>
          </p:cNvPr>
          <p:cNvSpPr>
            <a:spLocks noGrp="1"/>
          </p:cNvSpPr>
          <p:nvPr>
            <p:ph type="dt" sz="half" idx="10"/>
          </p:nvPr>
        </p:nvSpPr>
        <p:spPr/>
        <p:txBody>
          <a:bodyPr/>
          <a:lstStyle/>
          <a:p>
            <a:fld id="{B4AAC662-8F7E-46FF-BF45-54D2733F0C8C}" type="datetimeFigureOut">
              <a:rPr lang="fr-FR" smtClean="0"/>
              <a:t>26/02/2021</a:t>
            </a:fld>
            <a:endParaRPr lang="fr-FR"/>
          </a:p>
        </p:txBody>
      </p:sp>
      <p:sp>
        <p:nvSpPr>
          <p:cNvPr id="8" name="Espace réservé du pied de page 7">
            <a:extLst>
              <a:ext uri="{FF2B5EF4-FFF2-40B4-BE49-F238E27FC236}">
                <a16:creationId xmlns:a16="http://schemas.microsoft.com/office/drawing/2014/main" id="{D4B4DA8C-4CAE-47BB-B5D8-D3CD8CA087DC}"/>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8F733564-54DF-4A81-A1E0-E16BDFCCC383}"/>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39856009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106E18-40BE-4CE6-A1DE-51E2FCB71EA4}"/>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CC9E90AC-A901-4B3B-8F1A-62F80383E911}"/>
              </a:ext>
            </a:extLst>
          </p:cNvPr>
          <p:cNvSpPr>
            <a:spLocks noGrp="1"/>
          </p:cNvSpPr>
          <p:nvPr>
            <p:ph type="dt" sz="half" idx="10"/>
          </p:nvPr>
        </p:nvSpPr>
        <p:spPr/>
        <p:txBody>
          <a:bodyPr/>
          <a:lstStyle/>
          <a:p>
            <a:fld id="{B4AAC662-8F7E-46FF-BF45-54D2733F0C8C}" type="datetimeFigureOut">
              <a:rPr lang="fr-FR" smtClean="0"/>
              <a:t>26/02/2021</a:t>
            </a:fld>
            <a:endParaRPr lang="fr-FR"/>
          </a:p>
        </p:txBody>
      </p:sp>
      <p:sp>
        <p:nvSpPr>
          <p:cNvPr id="4" name="Espace réservé du pied de page 3">
            <a:extLst>
              <a:ext uri="{FF2B5EF4-FFF2-40B4-BE49-F238E27FC236}">
                <a16:creationId xmlns:a16="http://schemas.microsoft.com/office/drawing/2014/main" id="{6B69960F-910E-441F-9234-4EFA03174979}"/>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6DEAD386-BAAD-4887-AEC1-ACEC7AC75072}"/>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30708421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CEA3A60B-5261-4319-9606-C7A19FE79FFD}"/>
              </a:ext>
            </a:extLst>
          </p:cNvPr>
          <p:cNvSpPr>
            <a:spLocks noGrp="1"/>
          </p:cNvSpPr>
          <p:nvPr>
            <p:ph type="dt" sz="half" idx="10"/>
          </p:nvPr>
        </p:nvSpPr>
        <p:spPr/>
        <p:txBody>
          <a:bodyPr/>
          <a:lstStyle/>
          <a:p>
            <a:fld id="{B4AAC662-8F7E-46FF-BF45-54D2733F0C8C}" type="datetimeFigureOut">
              <a:rPr lang="fr-FR" smtClean="0"/>
              <a:t>26/02/2021</a:t>
            </a:fld>
            <a:endParaRPr lang="fr-FR"/>
          </a:p>
        </p:txBody>
      </p:sp>
      <p:sp>
        <p:nvSpPr>
          <p:cNvPr id="3" name="Espace réservé du pied de page 2">
            <a:extLst>
              <a:ext uri="{FF2B5EF4-FFF2-40B4-BE49-F238E27FC236}">
                <a16:creationId xmlns:a16="http://schemas.microsoft.com/office/drawing/2014/main" id="{7CD7E47D-E0D5-4EA3-A174-877281D1E4A2}"/>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BBBA8F0E-BF11-4E0E-B6B3-0C4D3ED9ADC8}"/>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409423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0D5B282-2CDC-43BA-91BF-BB825DDC357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4B2B1462-82C2-41F9-B928-24CD0E058B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F8E6443F-D9C8-4B0A-A85E-AFB98C1784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E58546B2-B4AD-4632-A7F6-E278F595C80D}"/>
              </a:ext>
            </a:extLst>
          </p:cNvPr>
          <p:cNvSpPr>
            <a:spLocks noGrp="1"/>
          </p:cNvSpPr>
          <p:nvPr>
            <p:ph type="dt" sz="half" idx="10"/>
          </p:nvPr>
        </p:nvSpPr>
        <p:spPr/>
        <p:txBody>
          <a:bodyPr/>
          <a:lstStyle/>
          <a:p>
            <a:fld id="{B4AAC662-8F7E-46FF-BF45-54D2733F0C8C}" type="datetimeFigureOut">
              <a:rPr lang="fr-FR" smtClean="0"/>
              <a:t>26/02/2021</a:t>
            </a:fld>
            <a:endParaRPr lang="fr-FR"/>
          </a:p>
        </p:txBody>
      </p:sp>
      <p:sp>
        <p:nvSpPr>
          <p:cNvPr id="6" name="Espace réservé du pied de page 5">
            <a:extLst>
              <a:ext uri="{FF2B5EF4-FFF2-40B4-BE49-F238E27FC236}">
                <a16:creationId xmlns:a16="http://schemas.microsoft.com/office/drawing/2014/main" id="{F95E8C30-5617-4C3D-86F5-1BB6370D3806}"/>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9698214D-67A4-4095-A830-2541FC31FF56}"/>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2731998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9969A8-DB1E-4329-86AA-AAC523FDA27F}"/>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47A97373-2753-4E91-A499-97DCFA713F0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4E0A5C63-7589-47D3-A6A8-2BAA1AA21C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6658AF3C-8B47-4456-B292-94827E8D0061}"/>
              </a:ext>
            </a:extLst>
          </p:cNvPr>
          <p:cNvSpPr>
            <a:spLocks noGrp="1"/>
          </p:cNvSpPr>
          <p:nvPr>
            <p:ph type="dt" sz="half" idx="10"/>
          </p:nvPr>
        </p:nvSpPr>
        <p:spPr/>
        <p:txBody>
          <a:bodyPr/>
          <a:lstStyle/>
          <a:p>
            <a:fld id="{B4AAC662-8F7E-46FF-BF45-54D2733F0C8C}" type="datetimeFigureOut">
              <a:rPr lang="fr-FR" smtClean="0"/>
              <a:t>26/02/2021</a:t>
            </a:fld>
            <a:endParaRPr lang="fr-FR"/>
          </a:p>
        </p:txBody>
      </p:sp>
      <p:sp>
        <p:nvSpPr>
          <p:cNvPr id="6" name="Espace réservé du pied de page 5">
            <a:extLst>
              <a:ext uri="{FF2B5EF4-FFF2-40B4-BE49-F238E27FC236}">
                <a16:creationId xmlns:a16="http://schemas.microsoft.com/office/drawing/2014/main" id="{CA94149C-1965-48BE-A21B-231EFD4799E7}"/>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C75B3F0F-B380-4E1B-AC33-1610717B8B29}"/>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18355383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B24DAE3-D939-4C4D-88F9-662ED8E02C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0D21944-0B8F-4C3A-9BCA-D8EF26A831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5B3C1B60-F7FD-45E2-AFE6-969B7E482D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AAC662-8F7E-46FF-BF45-54D2733F0C8C}" type="datetimeFigureOut">
              <a:rPr lang="fr-FR" smtClean="0"/>
              <a:t>26/02/2021</a:t>
            </a:fld>
            <a:endParaRPr lang="fr-FR"/>
          </a:p>
        </p:txBody>
      </p:sp>
      <p:sp>
        <p:nvSpPr>
          <p:cNvPr id="5" name="Espace réservé du pied de page 4">
            <a:extLst>
              <a:ext uri="{FF2B5EF4-FFF2-40B4-BE49-F238E27FC236}">
                <a16:creationId xmlns:a16="http://schemas.microsoft.com/office/drawing/2014/main" id="{666FD234-03EA-4C46-8B22-CFC6DD2300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210ED5CD-B777-437E-B0F8-CFA32F5B355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0A9C33-773E-4B08-A2CE-4F0FB0936678}" type="slidenum">
              <a:rPr lang="fr-FR" smtClean="0"/>
              <a:t>‹N°›</a:t>
            </a:fld>
            <a:endParaRPr lang="fr-FR"/>
          </a:p>
        </p:txBody>
      </p:sp>
    </p:spTree>
    <p:extLst>
      <p:ext uri="{BB962C8B-B14F-4D97-AF65-F5344CB8AC3E}">
        <p14:creationId xmlns:p14="http://schemas.microsoft.com/office/powerpoint/2010/main" val="39818148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fr-FR"/>
              <a:t>Modifiez le style du titre</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pPr/>
              <a:t>2/26/2021</a:t>
            </a:fld>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pPr/>
              <a:t>‹N°›</a:t>
            </a:fld>
            <a:endParaRPr lang="en-US" dirty="0"/>
          </a:p>
        </p:txBody>
      </p:sp>
      <p:cxnSp>
        <p:nvCxnSpPr>
          <p:cNvPr id="10" name="Straight Connector 9"/>
          <p:cNvCxnSpPr/>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15130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a:t>Cliquez pour modifier le style du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302334-7E8B-4320-A1E2-4B05AC15A670}" type="datetimeFigureOut">
              <a:rPr lang="fr-FR" smtClean="0"/>
              <a:pPr/>
              <a:t>26/02/2021</a:t>
            </a:fld>
            <a:endParaRPr lang="fr-FR"/>
          </a:p>
        </p:txBody>
      </p:sp>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8582E2-60D7-40E7-AECB-CED9E7320F8D}" type="slidenum">
              <a:rPr lang="fr-FR" smtClean="0"/>
              <a:pPr/>
              <a:t>‹N°›</a:t>
            </a:fld>
            <a:endParaRPr lang="fr-FR"/>
          </a:p>
        </p:txBody>
      </p:sp>
    </p:spTree>
    <p:extLst>
      <p:ext uri="{BB962C8B-B14F-4D97-AF65-F5344CB8AC3E}">
        <p14:creationId xmlns:p14="http://schemas.microsoft.com/office/powerpoint/2010/main" val="17772646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hyperlink" Target="https://www.infirmiers.com/votre-carriere/ide-liberale/la-comptabilite-infirmier-liberal-pourquoi-ne-pas-externaliser.html" TargetMode="External"/><Relationship Id="rId4" Type="http://schemas.openxmlformats.org/officeDocument/2006/relationships/image" Target="../media/image15.jp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hyperlink" Target="https://www.infirmiers.com/votre-carriere/ide-liberale/la-comptabilite-infirmier-liberal-pourquoi-ne-pas-externaliser.html" TargetMode="External"/><Relationship Id="rId4" Type="http://schemas.openxmlformats.org/officeDocument/2006/relationships/image" Target="../media/image15.jpg"/></Relationships>
</file>

<file path=ppt/slides/_rels/slide16.xml.rels><?xml version="1.0" encoding="UTF-8" standalone="yes"?>
<Relationships xmlns="http://schemas.openxmlformats.org/package/2006/relationships"><Relationship Id="rId3" Type="http://schemas.openxmlformats.org/officeDocument/2006/relationships/hyperlink" Target="https://www.legifrance.gouv.fr/loda/id/LEGIARTI000032332128/2016-04-02/" TargetMode="External"/><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hyperlink" Target="https://www.infirmiers.com/votre-carriere/ide-liberale/la-comptabilite-infirmier-liberal-pourquoi-ne-pas-externaliser.html" TargetMode="External"/><Relationship Id="rId4" Type="http://schemas.openxmlformats.org/officeDocument/2006/relationships/image" Target="../media/image15.jp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20.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21.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hyperlink" Target="https://www.infirmiers.com/votre-carriere/ide-liberale/la-comptabilite-infirmier-liberal-pourquoi-ne-pas-externaliser.html" TargetMode="External"/><Relationship Id="rId4" Type="http://schemas.openxmlformats.org/officeDocument/2006/relationships/image" Target="../media/image15.jpg"/></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3.jpeg"/></Relationships>
</file>

<file path=ppt/slides/_rels/slide30.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26.xml"/><Relationship Id="rId7" Type="http://schemas.openxmlformats.org/officeDocument/2006/relationships/diagramColors" Target="../diagrams/colors7.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33.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27.xml"/><Relationship Id="rId7" Type="http://schemas.openxmlformats.org/officeDocument/2006/relationships/diagramColors" Target="../diagrams/colors8.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3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28.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20.jpe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29.jpeg"/><Relationship Id="rId7" Type="http://schemas.openxmlformats.org/officeDocument/2006/relationships/diagramColors" Target="../diagrams/colors9.xm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3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hyperlink" Target="https://espritscience.blogspot.com/2008/01/du-rapport-des-temps.html" TargetMode="External"/><Relationship Id="rId4" Type="http://schemas.openxmlformats.org/officeDocument/2006/relationships/image" Target="../media/image31.jp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hyperlink" Target="https://www.infirmiers.com/votre-carriere/ide-liberale/la-comptabilite-infirmier-liberal-pourquoi-ne-pas-externaliser.html" TargetMode="External"/><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09AF2F-022D-42E7-9EE8-B11BCE898DAB}"/>
              </a:ext>
            </a:extLst>
          </p:cNvPr>
          <p:cNvSpPr>
            <a:spLocks noGrp="1"/>
          </p:cNvSpPr>
          <p:nvPr>
            <p:ph type="ctrTitle"/>
          </p:nvPr>
        </p:nvSpPr>
        <p:spPr>
          <a:xfrm>
            <a:off x="7464614" y="1783959"/>
            <a:ext cx="4087306" cy="2889114"/>
          </a:xfrm>
        </p:spPr>
        <p:txBody>
          <a:bodyPr anchor="b">
            <a:normAutofit fontScale="90000"/>
          </a:bodyPr>
          <a:lstStyle/>
          <a:p>
            <a:pPr algn="l"/>
            <a:r>
              <a:rPr lang="fr-FR" sz="5400" dirty="0">
                <a:latin typeface="Arial" panose="020B0604020202020204" pitchFamily="34" charset="0"/>
                <a:cs typeface="Arial" panose="020B0604020202020204" pitchFamily="34" charset="0"/>
              </a:rPr>
              <a:t>Université de Montpellier</a:t>
            </a:r>
            <a:br>
              <a:rPr lang="fr-FR" sz="5400" dirty="0"/>
            </a:br>
            <a:endParaRPr lang="fr-FR" sz="5400" dirty="0"/>
          </a:p>
        </p:txBody>
      </p:sp>
      <p:sp>
        <p:nvSpPr>
          <p:cNvPr id="3" name="Sous-titre 2">
            <a:extLst>
              <a:ext uri="{FF2B5EF4-FFF2-40B4-BE49-F238E27FC236}">
                <a16:creationId xmlns:a16="http://schemas.microsoft.com/office/drawing/2014/main" id="{21349F9F-31B4-41DC-B4DB-C097467B5266}"/>
              </a:ext>
            </a:extLst>
          </p:cNvPr>
          <p:cNvSpPr>
            <a:spLocks noGrp="1"/>
          </p:cNvSpPr>
          <p:nvPr>
            <p:ph type="subTitle" idx="1"/>
          </p:nvPr>
        </p:nvSpPr>
        <p:spPr>
          <a:xfrm>
            <a:off x="7464612" y="4750893"/>
            <a:ext cx="4489965" cy="1147863"/>
          </a:xfrm>
        </p:spPr>
        <p:txBody>
          <a:bodyPr anchor="t">
            <a:normAutofit fontScale="70000" lnSpcReduction="20000"/>
          </a:bodyPr>
          <a:lstStyle/>
          <a:p>
            <a:pPr algn="l"/>
            <a:endParaRPr lang="fr-FR" sz="2000" dirty="0"/>
          </a:p>
          <a:p>
            <a:pPr algn="l"/>
            <a:r>
              <a:rPr lang="fr-FR" sz="4000" dirty="0">
                <a:latin typeface="Arial" panose="020B0604020202020204" pitchFamily="34" charset="0"/>
                <a:cs typeface="Arial" panose="020B0604020202020204" pitchFamily="34" charset="0"/>
              </a:rPr>
              <a:t>Cours de comptabilité N°2</a:t>
            </a:r>
          </a:p>
          <a:p>
            <a:pPr algn="l"/>
            <a:r>
              <a:rPr lang="fr-FR" sz="4000" dirty="0">
                <a:latin typeface="Arial" panose="020B0604020202020204" pitchFamily="34" charset="0"/>
                <a:cs typeface="Arial" panose="020B0604020202020204" pitchFamily="34" charset="0"/>
              </a:rPr>
              <a:t>26 février 2021</a:t>
            </a:r>
          </a:p>
        </p:txBody>
      </p:sp>
      <p:sp>
        <p:nvSpPr>
          <p:cNvPr id="9" name="Freeform: Shape 8">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Bibliothèque publique floue abstraite avec des étagères à livres">
            <a:extLst>
              <a:ext uri="{FF2B5EF4-FFF2-40B4-BE49-F238E27FC236}">
                <a16:creationId xmlns:a16="http://schemas.microsoft.com/office/drawing/2014/main" id="{7BB6D41E-7376-4805-B0B6-C72AFA381B66}"/>
              </a:ext>
            </a:extLst>
          </p:cNvPr>
          <p:cNvPicPr>
            <a:picLocks noChangeAspect="1"/>
          </p:cNvPicPr>
          <p:nvPr/>
        </p:nvPicPr>
        <p:blipFill rotWithShape="1">
          <a:blip r:embed="rId3"/>
          <a:srcRect l="4625" r="26964" b="-1"/>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3848639155"/>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82413CC-69E6-4BDA-A88D-E4EF8F95B2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4F1F7357-8633-4CE7-BF80-475EE8A2FAE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4" name="Freeform 5">
              <a:extLst>
                <a:ext uri="{FF2B5EF4-FFF2-40B4-BE49-F238E27FC236}">
                  <a16:creationId xmlns:a16="http://schemas.microsoft.com/office/drawing/2014/main" id="{E402FE4E-C12D-497C-AF81-F08E4E02B4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306513" y="0"/>
              <a:ext cx="3862388" cy="6843713"/>
            </a:xfrm>
            <a:custGeom>
              <a:avLst/>
              <a:gdLst>
                <a:gd name="T0" fmla="*/ 813 w 813"/>
                <a:gd name="T1" fmla="*/ 0 h 1440"/>
                <a:gd name="T2" fmla="*/ 435 w 813"/>
                <a:gd name="T3" fmla="*/ 1440 h 1440"/>
              </a:gdLst>
              <a:ahLst/>
              <a:cxnLst>
                <a:cxn ang="0">
                  <a:pos x="T0" y="T1"/>
                </a:cxn>
                <a:cxn ang="0">
                  <a:pos x="T2" y="T3"/>
                </a:cxn>
              </a:cxnLst>
              <a:rect l="0" t="0" r="r" b="b"/>
              <a:pathLst>
                <a:path w="813" h="1440">
                  <a:moveTo>
                    <a:pt x="813" y="0"/>
                  </a:moveTo>
                  <a:cubicBezTo>
                    <a:pt x="331" y="221"/>
                    <a:pt x="0" y="1039"/>
                    <a:pt x="43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59247B10-170D-4E62-849A-38FCB43C6A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26725" y="9525"/>
              <a:ext cx="1539875" cy="555625"/>
            </a:xfrm>
            <a:custGeom>
              <a:avLst/>
              <a:gdLst>
                <a:gd name="T0" fmla="*/ 324 w 324"/>
                <a:gd name="T1" fmla="*/ 117 h 117"/>
                <a:gd name="T2" fmla="*/ 0 w 324"/>
                <a:gd name="T3" fmla="*/ 0 h 117"/>
              </a:gdLst>
              <a:ahLst/>
              <a:cxnLst>
                <a:cxn ang="0">
                  <a:pos x="T0" y="T1"/>
                </a:cxn>
                <a:cxn ang="0">
                  <a:pos x="T2" y="T3"/>
                </a:cxn>
              </a:cxnLst>
              <a:rect l="0" t="0" r="r" b="b"/>
              <a:pathLst>
                <a:path w="324" h="117">
                  <a:moveTo>
                    <a:pt x="324" y="117"/>
                  </a:moveTo>
                  <a:cubicBezTo>
                    <a:pt x="223" y="64"/>
                    <a:pt x="107" y="28"/>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89A587A7-1BEF-45AA-9EFC-6558A8749C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247313" y="5013325"/>
              <a:ext cx="1919288" cy="1830388"/>
            </a:xfrm>
            <a:custGeom>
              <a:avLst/>
              <a:gdLst>
                <a:gd name="T0" fmla="*/ 0 w 404"/>
                <a:gd name="T1" fmla="*/ 385 h 385"/>
                <a:gd name="T2" fmla="*/ 404 w 404"/>
                <a:gd name="T3" fmla="*/ 0 h 385"/>
              </a:gdLst>
              <a:ahLst/>
              <a:cxnLst>
                <a:cxn ang="0">
                  <a:pos x="T0" y="T1"/>
                </a:cxn>
                <a:cxn ang="0">
                  <a:pos x="T2" y="T3"/>
                </a:cxn>
              </a:cxnLst>
              <a:rect l="0" t="0" r="r" b="b"/>
              <a:pathLst>
                <a:path w="404" h="385">
                  <a:moveTo>
                    <a:pt x="0" y="385"/>
                  </a:moveTo>
                  <a:cubicBezTo>
                    <a:pt x="146" y="272"/>
                    <a:pt x="285" y="142"/>
                    <a:pt x="404"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AC25B5A1-6EF7-44EC-A2F0-1EDC96A79B0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775" y="0"/>
              <a:ext cx="3676650" cy="6843713"/>
            </a:xfrm>
            <a:custGeom>
              <a:avLst/>
              <a:gdLst>
                <a:gd name="T0" fmla="*/ 774 w 774"/>
                <a:gd name="T1" fmla="*/ 0 h 1440"/>
                <a:gd name="T2" fmla="*/ 411 w 774"/>
                <a:gd name="T3" fmla="*/ 1440 h 1440"/>
              </a:gdLst>
              <a:ahLst/>
              <a:cxnLst>
                <a:cxn ang="0">
                  <a:pos x="T0" y="T1"/>
                </a:cxn>
                <a:cxn ang="0">
                  <a:pos x="T2" y="T3"/>
                </a:cxn>
              </a:cxnLst>
              <a:rect l="0" t="0" r="r" b="b"/>
              <a:pathLst>
                <a:path w="774" h="1440">
                  <a:moveTo>
                    <a:pt x="774" y="0"/>
                  </a:moveTo>
                  <a:cubicBezTo>
                    <a:pt x="312" y="240"/>
                    <a:pt x="0" y="1034"/>
                    <a:pt x="411" y="144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80B8582C-7E17-4115-9FF1-979C8405CB5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2988" y="9525"/>
              <a:ext cx="963613" cy="366713"/>
            </a:xfrm>
            <a:custGeom>
              <a:avLst/>
              <a:gdLst>
                <a:gd name="T0" fmla="*/ 203 w 203"/>
                <a:gd name="T1" fmla="*/ 77 h 77"/>
                <a:gd name="T2" fmla="*/ 0 w 203"/>
                <a:gd name="T3" fmla="*/ 0 h 77"/>
              </a:gdLst>
              <a:ahLst/>
              <a:cxnLst>
                <a:cxn ang="0">
                  <a:pos x="T0" y="T1"/>
                </a:cxn>
                <a:cxn ang="0">
                  <a:pos x="T2" y="T3"/>
                </a:cxn>
              </a:cxnLst>
              <a:rect l="0" t="0" r="r" b="b"/>
              <a:pathLst>
                <a:path w="203" h="77">
                  <a:moveTo>
                    <a:pt x="203" y="77"/>
                  </a:moveTo>
                  <a:cubicBezTo>
                    <a:pt x="138" y="46"/>
                    <a:pt x="68" y="21"/>
                    <a:pt x="0"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F6C4AB66-7A18-4E51-935B-237F4CA8272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494963" y="5275263"/>
              <a:ext cx="1666875" cy="1577975"/>
            </a:xfrm>
            <a:custGeom>
              <a:avLst/>
              <a:gdLst>
                <a:gd name="T0" fmla="*/ 0 w 351"/>
                <a:gd name="T1" fmla="*/ 332 h 332"/>
                <a:gd name="T2" fmla="*/ 351 w 351"/>
                <a:gd name="T3" fmla="*/ 0 h 332"/>
              </a:gdLst>
              <a:ahLst/>
              <a:cxnLst>
                <a:cxn ang="0">
                  <a:pos x="T0" y="T1"/>
                </a:cxn>
                <a:cxn ang="0">
                  <a:pos x="T2" y="T3"/>
                </a:cxn>
              </a:cxnLst>
              <a:rect l="0" t="0" r="r" b="b"/>
              <a:pathLst>
                <a:path w="351" h="332">
                  <a:moveTo>
                    <a:pt x="0" y="332"/>
                  </a:moveTo>
                  <a:cubicBezTo>
                    <a:pt x="125" y="232"/>
                    <a:pt x="245" y="121"/>
                    <a:pt x="351"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CDF12911-A240-4580-8788-0C49DB1FEDB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621088" cy="6843713"/>
            </a:xfrm>
            <a:custGeom>
              <a:avLst/>
              <a:gdLst>
                <a:gd name="T0" fmla="*/ 762 w 762"/>
                <a:gd name="T1" fmla="*/ 0 h 1440"/>
                <a:gd name="T2" fmla="*/ 403 w 762"/>
                <a:gd name="T3" fmla="*/ 1440 h 1440"/>
              </a:gdLst>
              <a:ahLst/>
              <a:cxnLst>
                <a:cxn ang="0">
                  <a:pos x="T0" y="T1"/>
                </a:cxn>
                <a:cxn ang="0">
                  <a:pos x="T2" y="T3"/>
                </a:cxn>
              </a:cxnLst>
              <a:rect l="0" t="0" r="r" b="b"/>
              <a:pathLst>
                <a:path w="762" h="1440">
                  <a:moveTo>
                    <a:pt x="762" y="0"/>
                  </a:moveTo>
                  <a:cubicBezTo>
                    <a:pt x="308" y="245"/>
                    <a:pt x="0" y="1033"/>
                    <a:pt x="403"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EAE0F5DE-442D-4F6C-B02C-2568ED19585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501438" y="9525"/>
              <a:ext cx="665163" cy="257175"/>
            </a:xfrm>
            <a:custGeom>
              <a:avLst/>
              <a:gdLst>
                <a:gd name="T0" fmla="*/ 140 w 140"/>
                <a:gd name="T1" fmla="*/ 54 h 54"/>
                <a:gd name="T2" fmla="*/ 0 w 140"/>
                <a:gd name="T3" fmla="*/ 0 h 54"/>
              </a:gdLst>
              <a:ahLst/>
              <a:cxnLst>
                <a:cxn ang="0">
                  <a:pos x="T0" y="T1"/>
                </a:cxn>
                <a:cxn ang="0">
                  <a:pos x="T2" y="T3"/>
                </a:cxn>
              </a:cxnLst>
              <a:rect l="0" t="0" r="r" b="b"/>
              <a:pathLst>
                <a:path w="140" h="54">
                  <a:moveTo>
                    <a:pt x="140" y="54"/>
                  </a:moveTo>
                  <a:cubicBezTo>
                    <a:pt x="95" y="34"/>
                    <a:pt x="48" y="16"/>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4F24A002-AFDE-4034-85BE-CBF005AE92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41013" y="5408613"/>
              <a:ext cx="1525588" cy="1435100"/>
            </a:xfrm>
            <a:custGeom>
              <a:avLst/>
              <a:gdLst>
                <a:gd name="T0" fmla="*/ 0 w 321"/>
                <a:gd name="T1" fmla="*/ 302 h 302"/>
                <a:gd name="T2" fmla="*/ 321 w 321"/>
                <a:gd name="T3" fmla="*/ 0 h 302"/>
              </a:gdLst>
              <a:ahLst/>
              <a:cxnLst>
                <a:cxn ang="0">
                  <a:pos x="T0" y="T1"/>
                </a:cxn>
                <a:cxn ang="0">
                  <a:pos x="T2" y="T3"/>
                </a:cxn>
              </a:cxnLst>
              <a:rect l="0" t="0" r="r" b="b"/>
              <a:pathLst>
                <a:path w="321" h="302">
                  <a:moveTo>
                    <a:pt x="0" y="302"/>
                  </a:moveTo>
                  <a:cubicBezTo>
                    <a:pt x="114" y="210"/>
                    <a:pt x="223" y="109"/>
                    <a:pt x="321"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36F0721E-B4B0-4A6C-A92C-F8DE92D3AC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244850" cy="6843713"/>
            </a:xfrm>
            <a:custGeom>
              <a:avLst/>
              <a:gdLst>
                <a:gd name="T0" fmla="*/ 683 w 683"/>
                <a:gd name="T1" fmla="*/ 0 h 1440"/>
                <a:gd name="T2" fmla="*/ 355 w 683"/>
                <a:gd name="T3" fmla="*/ 1440 h 1440"/>
              </a:gdLst>
              <a:ahLst/>
              <a:cxnLst>
                <a:cxn ang="0">
                  <a:pos x="T0" y="T1"/>
                </a:cxn>
                <a:cxn ang="0">
                  <a:pos x="T2" y="T3"/>
                </a:cxn>
              </a:cxnLst>
              <a:rect l="0" t="0" r="r" b="b"/>
              <a:pathLst>
                <a:path w="683" h="1440">
                  <a:moveTo>
                    <a:pt x="683" y="0"/>
                  </a:moveTo>
                  <a:cubicBezTo>
                    <a:pt x="258" y="256"/>
                    <a:pt x="0" y="1041"/>
                    <a:pt x="35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54D2DC98-69F8-4F2F-9D45-BDFFA5E2BB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802938" y="5518150"/>
              <a:ext cx="1363663" cy="1325563"/>
            </a:xfrm>
            <a:custGeom>
              <a:avLst/>
              <a:gdLst>
                <a:gd name="T0" fmla="*/ 0 w 287"/>
                <a:gd name="T1" fmla="*/ 279 h 279"/>
                <a:gd name="T2" fmla="*/ 287 w 287"/>
                <a:gd name="T3" fmla="*/ 0 h 279"/>
              </a:gdLst>
              <a:ahLst/>
              <a:cxnLst>
                <a:cxn ang="0">
                  <a:pos x="T0" y="T1"/>
                </a:cxn>
                <a:cxn ang="0">
                  <a:pos x="T2" y="T3"/>
                </a:cxn>
              </a:cxnLst>
              <a:rect l="0" t="0" r="r" b="b"/>
              <a:pathLst>
                <a:path w="287" h="279">
                  <a:moveTo>
                    <a:pt x="0" y="279"/>
                  </a:moveTo>
                  <a:cubicBezTo>
                    <a:pt x="101" y="193"/>
                    <a:pt x="198" y="100"/>
                    <a:pt x="287"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0A636E33-DC38-40B9-B941-037E5D8603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89000" y="0"/>
              <a:ext cx="3230563" cy="6843713"/>
            </a:xfrm>
            <a:custGeom>
              <a:avLst/>
              <a:gdLst>
                <a:gd name="T0" fmla="*/ 680 w 680"/>
                <a:gd name="T1" fmla="*/ 0 h 1440"/>
                <a:gd name="T2" fmla="*/ 337 w 680"/>
                <a:gd name="T3" fmla="*/ 1440 h 1440"/>
              </a:gdLst>
              <a:ahLst/>
              <a:cxnLst>
                <a:cxn ang="0">
                  <a:pos x="T0" y="T1"/>
                </a:cxn>
                <a:cxn ang="0">
                  <a:pos x="T2" y="T3"/>
                </a:cxn>
              </a:cxnLst>
              <a:rect l="0" t="0" r="r" b="b"/>
              <a:pathLst>
                <a:path w="680" h="1440">
                  <a:moveTo>
                    <a:pt x="680" y="0"/>
                  </a:moveTo>
                  <a:cubicBezTo>
                    <a:pt x="257" y="265"/>
                    <a:pt x="0" y="1026"/>
                    <a:pt x="337"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03D30690-68C2-4AEC-9789-1495D97E194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79150" y="5694363"/>
              <a:ext cx="1187450" cy="1149350"/>
            </a:xfrm>
            <a:custGeom>
              <a:avLst/>
              <a:gdLst>
                <a:gd name="T0" fmla="*/ 0 w 250"/>
                <a:gd name="T1" fmla="*/ 242 h 242"/>
                <a:gd name="T2" fmla="*/ 250 w 250"/>
                <a:gd name="T3" fmla="*/ 0 h 242"/>
              </a:gdLst>
              <a:ahLst/>
              <a:cxnLst>
                <a:cxn ang="0">
                  <a:pos x="T0" y="T1"/>
                </a:cxn>
                <a:cxn ang="0">
                  <a:pos x="T2" y="T3"/>
                </a:cxn>
              </a:cxnLst>
              <a:rect l="0" t="0" r="r" b="b"/>
              <a:pathLst>
                <a:path w="250" h="242">
                  <a:moveTo>
                    <a:pt x="0" y="242"/>
                  </a:moveTo>
                  <a:cubicBezTo>
                    <a:pt x="88" y="166"/>
                    <a:pt x="172" y="85"/>
                    <a:pt x="25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1020B1B9-821B-49FB-BDC9-57DA08CBC3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84188" y="0"/>
              <a:ext cx="3421063" cy="6843713"/>
            </a:xfrm>
            <a:custGeom>
              <a:avLst/>
              <a:gdLst>
                <a:gd name="T0" fmla="*/ 720 w 720"/>
                <a:gd name="T1" fmla="*/ 0 h 1440"/>
                <a:gd name="T2" fmla="*/ 362 w 720"/>
                <a:gd name="T3" fmla="*/ 1440 h 1440"/>
              </a:gdLst>
              <a:ahLst/>
              <a:cxnLst>
                <a:cxn ang="0">
                  <a:pos x="T0" y="T1"/>
                </a:cxn>
                <a:cxn ang="0">
                  <a:pos x="T2" y="T3"/>
                </a:cxn>
              </a:cxnLst>
              <a:rect l="0" t="0" r="r" b="b"/>
              <a:pathLst>
                <a:path w="720" h="1440">
                  <a:moveTo>
                    <a:pt x="720" y="0"/>
                  </a:moveTo>
                  <a:cubicBezTo>
                    <a:pt x="316" y="282"/>
                    <a:pt x="0" y="1018"/>
                    <a:pt x="362"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720EDCE4-8B18-413F-989E-E79628E5AF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87125" y="6049963"/>
              <a:ext cx="879475" cy="793750"/>
            </a:xfrm>
            <a:custGeom>
              <a:avLst/>
              <a:gdLst>
                <a:gd name="T0" fmla="*/ 0 w 185"/>
                <a:gd name="T1" fmla="*/ 167 h 167"/>
                <a:gd name="T2" fmla="*/ 185 w 185"/>
                <a:gd name="T3" fmla="*/ 0 h 167"/>
              </a:gdLst>
              <a:ahLst/>
              <a:cxnLst>
                <a:cxn ang="0">
                  <a:pos x="T0" y="T1"/>
                </a:cxn>
                <a:cxn ang="0">
                  <a:pos x="T2" y="T3"/>
                </a:cxn>
              </a:cxnLst>
              <a:rect l="0" t="0" r="r" b="b"/>
              <a:pathLst>
                <a:path w="185" h="167">
                  <a:moveTo>
                    <a:pt x="0" y="167"/>
                  </a:moveTo>
                  <a:cubicBezTo>
                    <a:pt x="63" y="114"/>
                    <a:pt x="125" y="58"/>
                    <a:pt x="185"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8563351E-0DDD-4FC8-8D0C-1E446E3C1B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8488" y="0"/>
              <a:ext cx="2717800" cy="6843713"/>
            </a:xfrm>
            <a:custGeom>
              <a:avLst/>
              <a:gdLst>
                <a:gd name="T0" fmla="*/ 572 w 572"/>
                <a:gd name="T1" fmla="*/ 0 h 1440"/>
                <a:gd name="T2" fmla="*/ 164 w 572"/>
                <a:gd name="T3" fmla="*/ 1440 h 1440"/>
              </a:gdLst>
              <a:ahLst/>
              <a:cxnLst>
                <a:cxn ang="0">
                  <a:pos x="T0" y="T1"/>
                </a:cxn>
                <a:cxn ang="0">
                  <a:pos x="T2" y="T3"/>
                </a:cxn>
              </a:cxnLst>
              <a:rect l="0" t="0" r="r" b="b"/>
              <a:pathLst>
                <a:path w="572" h="1440">
                  <a:moveTo>
                    <a:pt x="572" y="0"/>
                  </a:moveTo>
                  <a:cubicBezTo>
                    <a:pt x="213" y="320"/>
                    <a:pt x="0" y="979"/>
                    <a:pt x="164" y="1440"/>
                  </a:cubicBezTo>
                </a:path>
              </a:pathLst>
            </a:custGeom>
            <a:noFill/>
            <a:ln w="12700" cap="flat">
              <a:solidFill>
                <a:schemeClr val="tx1">
                  <a:alpha val="15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15E8B705-64E7-4513-B3CB-BF46C35732B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61938" y="0"/>
              <a:ext cx="2944813" cy="6843713"/>
            </a:xfrm>
            <a:custGeom>
              <a:avLst/>
              <a:gdLst>
                <a:gd name="T0" fmla="*/ 620 w 620"/>
                <a:gd name="T1" fmla="*/ 0 h 1440"/>
                <a:gd name="T2" fmla="*/ 186 w 620"/>
                <a:gd name="T3" fmla="*/ 1440 h 1440"/>
              </a:gdLst>
              <a:ahLst/>
              <a:cxnLst>
                <a:cxn ang="0">
                  <a:pos x="T0" y="T1"/>
                </a:cxn>
                <a:cxn ang="0">
                  <a:pos x="T2" y="T3"/>
                </a:cxn>
              </a:cxnLst>
              <a:rect l="0" t="0" r="r" b="b"/>
              <a:pathLst>
                <a:path w="620" h="1440">
                  <a:moveTo>
                    <a:pt x="620" y="0"/>
                  </a:moveTo>
                  <a:cubicBezTo>
                    <a:pt x="248" y="325"/>
                    <a:pt x="0" y="960"/>
                    <a:pt x="186" y="1440"/>
                  </a:cubicBezTo>
                </a:path>
              </a:pathLst>
            </a:custGeom>
            <a:noFill/>
            <a:ln w="9525" cap="flat">
              <a:solidFill>
                <a:schemeClr val="tx1">
                  <a:alpha val="15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30DAEE1C-EBB5-47F5-9E76-564FCFDBFC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17513" y="0"/>
              <a:ext cx="2403475" cy="6843713"/>
            </a:xfrm>
            <a:custGeom>
              <a:avLst/>
              <a:gdLst>
                <a:gd name="T0" fmla="*/ 506 w 506"/>
                <a:gd name="T1" fmla="*/ 0 h 1440"/>
                <a:gd name="T2" fmla="*/ 171 w 506"/>
                <a:gd name="T3" fmla="*/ 1440 h 1440"/>
              </a:gdLst>
              <a:ahLst/>
              <a:cxnLst>
                <a:cxn ang="0">
                  <a:pos x="T0" y="T1"/>
                </a:cxn>
                <a:cxn ang="0">
                  <a:pos x="T2" y="T3"/>
                </a:cxn>
              </a:cxnLst>
              <a:rect l="0" t="0" r="r" b="b"/>
              <a:pathLst>
                <a:path w="506" h="1440">
                  <a:moveTo>
                    <a:pt x="506" y="0"/>
                  </a:moveTo>
                  <a:cubicBezTo>
                    <a:pt x="109" y="356"/>
                    <a:pt x="0" y="943"/>
                    <a:pt x="171"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EDB255E9-A3E2-4098-99A1-FE38FAD15D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9525"/>
              <a:ext cx="1771650" cy="3198813"/>
            </a:xfrm>
            <a:custGeom>
              <a:avLst/>
              <a:gdLst>
                <a:gd name="T0" fmla="*/ 373 w 373"/>
                <a:gd name="T1" fmla="*/ 0 h 673"/>
                <a:gd name="T2" fmla="*/ 0 w 373"/>
                <a:gd name="T3" fmla="*/ 673 h 673"/>
              </a:gdLst>
              <a:ahLst/>
              <a:cxnLst>
                <a:cxn ang="0">
                  <a:pos x="T0" y="T1"/>
                </a:cxn>
                <a:cxn ang="0">
                  <a:pos x="T2" y="T3"/>
                </a:cxn>
              </a:cxnLst>
              <a:rect l="0" t="0" r="r" b="b"/>
              <a:pathLst>
                <a:path w="373" h="673">
                  <a:moveTo>
                    <a:pt x="373" y="0"/>
                  </a:moveTo>
                  <a:cubicBezTo>
                    <a:pt x="175" y="183"/>
                    <a:pt x="51" y="409"/>
                    <a:pt x="0" y="673"/>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D2507F2A-27AF-4833-8273-5FC9A98863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763" y="6016625"/>
              <a:ext cx="214313" cy="827088"/>
            </a:xfrm>
            <a:custGeom>
              <a:avLst/>
              <a:gdLst>
                <a:gd name="T0" fmla="*/ 0 w 45"/>
                <a:gd name="T1" fmla="*/ 0 h 174"/>
                <a:gd name="T2" fmla="*/ 45 w 45"/>
                <a:gd name="T3" fmla="*/ 174 h 174"/>
              </a:gdLst>
              <a:ahLst/>
              <a:cxnLst>
                <a:cxn ang="0">
                  <a:pos x="T0" y="T1"/>
                </a:cxn>
                <a:cxn ang="0">
                  <a:pos x="T2" y="T3"/>
                </a:cxn>
              </a:cxnLst>
              <a:rect l="0" t="0" r="r" b="b"/>
              <a:pathLst>
                <a:path w="45" h="174">
                  <a:moveTo>
                    <a:pt x="0" y="0"/>
                  </a:moveTo>
                  <a:cubicBezTo>
                    <a:pt x="11" y="59"/>
                    <a:pt x="26" y="118"/>
                    <a:pt x="45" y="174"/>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8DFB8904-0CB8-45AD-ABD2-F7A582365E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0"/>
              <a:ext cx="1562100" cy="2228850"/>
            </a:xfrm>
            <a:custGeom>
              <a:avLst/>
              <a:gdLst>
                <a:gd name="T0" fmla="*/ 329 w 329"/>
                <a:gd name="T1" fmla="*/ 0 h 469"/>
                <a:gd name="T2" fmla="*/ 0 w 329"/>
                <a:gd name="T3" fmla="*/ 469 h 469"/>
              </a:gdLst>
              <a:ahLst/>
              <a:cxnLst>
                <a:cxn ang="0">
                  <a:pos x="T0" y="T1"/>
                </a:cxn>
                <a:cxn ang="0">
                  <a:pos x="T2" y="T3"/>
                </a:cxn>
              </a:cxnLst>
              <a:rect l="0" t="0" r="r" b="b"/>
              <a:pathLst>
                <a:path w="329" h="469">
                  <a:moveTo>
                    <a:pt x="329" y="0"/>
                  </a:moveTo>
                  <a:cubicBezTo>
                    <a:pt x="189" y="133"/>
                    <a:pt x="69" y="288"/>
                    <a:pt x="0" y="469"/>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pic>
        <p:nvPicPr>
          <p:cNvPr id="43" name="Espace réservé du contenu 42">
            <a:extLst>
              <a:ext uri="{FF2B5EF4-FFF2-40B4-BE49-F238E27FC236}">
                <a16:creationId xmlns:a16="http://schemas.microsoft.com/office/drawing/2014/main" id="{75F83CB2-3FD3-4998-913A-993E154A6722}"/>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199312" y="725864"/>
            <a:ext cx="11598922" cy="5203595"/>
          </a:xfrm>
        </p:spPr>
      </p:pic>
    </p:spTree>
    <p:extLst>
      <p:ext uri="{BB962C8B-B14F-4D97-AF65-F5344CB8AC3E}">
        <p14:creationId xmlns:p14="http://schemas.microsoft.com/office/powerpoint/2010/main" val="21117357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82413CC-69E6-4BDA-A88D-E4EF8F95B2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4F1F7357-8633-4CE7-BF80-475EE8A2FAE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4" name="Freeform 5">
              <a:extLst>
                <a:ext uri="{FF2B5EF4-FFF2-40B4-BE49-F238E27FC236}">
                  <a16:creationId xmlns:a16="http://schemas.microsoft.com/office/drawing/2014/main" id="{E402FE4E-C12D-497C-AF81-F08E4E02B4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306513" y="0"/>
              <a:ext cx="3862388" cy="6843713"/>
            </a:xfrm>
            <a:custGeom>
              <a:avLst/>
              <a:gdLst>
                <a:gd name="T0" fmla="*/ 813 w 813"/>
                <a:gd name="T1" fmla="*/ 0 h 1440"/>
                <a:gd name="T2" fmla="*/ 435 w 813"/>
                <a:gd name="T3" fmla="*/ 1440 h 1440"/>
              </a:gdLst>
              <a:ahLst/>
              <a:cxnLst>
                <a:cxn ang="0">
                  <a:pos x="T0" y="T1"/>
                </a:cxn>
                <a:cxn ang="0">
                  <a:pos x="T2" y="T3"/>
                </a:cxn>
              </a:cxnLst>
              <a:rect l="0" t="0" r="r" b="b"/>
              <a:pathLst>
                <a:path w="813" h="1440">
                  <a:moveTo>
                    <a:pt x="813" y="0"/>
                  </a:moveTo>
                  <a:cubicBezTo>
                    <a:pt x="331" y="221"/>
                    <a:pt x="0" y="1039"/>
                    <a:pt x="43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59247B10-170D-4E62-849A-38FCB43C6A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26725" y="9525"/>
              <a:ext cx="1539875" cy="555625"/>
            </a:xfrm>
            <a:custGeom>
              <a:avLst/>
              <a:gdLst>
                <a:gd name="T0" fmla="*/ 324 w 324"/>
                <a:gd name="T1" fmla="*/ 117 h 117"/>
                <a:gd name="T2" fmla="*/ 0 w 324"/>
                <a:gd name="T3" fmla="*/ 0 h 117"/>
              </a:gdLst>
              <a:ahLst/>
              <a:cxnLst>
                <a:cxn ang="0">
                  <a:pos x="T0" y="T1"/>
                </a:cxn>
                <a:cxn ang="0">
                  <a:pos x="T2" y="T3"/>
                </a:cxn>
              </a:cxnLst>
              <a:rect l="0" t="0" r="r" b="b"/>
              <a:pathLst>
                <a:path w="324" h="117">
                  <a:moveTo>
                    <a:pt x="324" y="117"/>
                  </a:moveTo>
                  <a:cubicBezTo>
                    <a:pt x="223" y="64"/>
                    <a:pt x="107" y="28"/>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89A587A7-1BEF-45AA-9EFC-6558A8749C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247313" y="5013325"/>
              <a:ext cx="1919288" cy="1830388"/>
            </a:xfrm>
            <a:custGeom>
              <a:avLst/>
              <a:gdLst>
                <a:gd name="T0" fmla="*/ 0 w 404"/>
                <a:gd name="T1" fmla="*/ 385 h 385"/>
                <a:gd name="T2" fmla="*/ 404 w 404"/>
                <a:gd name="T3" fmla="*/ 0 h 385"/>
              </a:gdLst>
              <a:ahLst/>
              <a:cxnLst>
                <a:cxn ang="0">
                  <a:pos x="T0" y="T1"/>
                </a:cxn>
                <a:cxn ang="0">
                  <a:pos x="T2" y="T3"/>
                </a:cxn>
              </a:cxnLst>
              <a:rect l="0" t="0" r="r" b="b"/>
              <a:pathLst>
                <a:path w="404" h="385">
                  <a:moveTo>
                    <a:pt x="0" y="385"/>
                  </a:moveTo>
                  <a:cubicBezTo>
                    <a:pt x="146" y="272"/>
                    <a:pt x="285" y="142"/>
                    <a:pt x="404"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AC25B5A1-6EF7-44EC-A2F0-1EDC96A79B0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775" y="0"/>
              <a:ext cx="3676650" cy="6843713"/>
            </a:xfrm>
            <a:custGeom>
              <a:avLst/>
              <a:gdLst>
                <a:gd name="T0" fmla="*/ 774 w 774"/>
                <a:gd name="T1" fmla="*/ 0 h 1440"/>
                <a:gd name="T2" fmla="*/ 411 w 774"/>
                <a:gd name="T3" fmla="*/ 1440 h 1440"/>
              </a:gdLst>
              <a:ahLst/>
              <a:cxnLst>
                <a:cxn ang="0">
                  <a:pos x="T0" y="T1"/>
                </a:cxn>
                <a:cxn ang="0">
                  <a:pos x="T2" y="T3"/>
                </a:cxn>
              </a:cxnLst>
              <a:rect l="0" t="0" r="r" b="b"/>
              <a:pathLst>
                <a:path w="774" h="1440">
                  <a:moveTo>
                    <a:pt x="774" y="0"/>
                  </a:moveTo>
                  <a:cubicBezTo>
                    <a:pt x="312" y="240"/>
                    <a:pt x="0" y="1034"/>
                    <a:pt x="411" y="144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80B8582C-7E17-4115-9FF1-979C8405CB5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2988" y="9525"/>
              <a:ext cx="963613" cy="366713"/>
            </a:xfrm>
            <a:custGeom>
              <a:avLst/>
              <a:gdLst>
                <a:gd name="T0" fmla="*/ 203 w 203"/>
                <a:gd name="T1" fmla="*/ 77 h 77"/>
                <a:gd name="T2" fmla="*/ 0 w 203"/>
                <a:gd name="T3" fmla="*/ 0 h 77"/>
              </a:gdLst>
              <a:ahLst/>
              <a:cxnLst>
                <a:cxn ang="0">
                  <a:pos x="T0" y="T1"/>
                </a:cxn>
                <a:cxn ang="0">
                  <a:pos x="T2" y="T3"/>
                </a:cxn>
              </a:cxnLst>
              <a:rect l="0" t="0" r="r" b="b"/>
              <a:pathLst>
                <a:path w="203" h="77">
                  <a:moveTo>
                    <a:pt x="203" y="77"/>
                  </a:moveTo>
                  <a:cubicBezTo>
                    <a:pt x="138" y="46"/>
                    <a:pt x="68" y="21"/>
                    <a:pt x="0"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F6C4AB66-7A18-4E51-935B-237F4CA8272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494963" y="5275263"/>
              <a:ext cx="1666875" cy="1577975"/>
            </a:xfrm>
            <a:custGeom>
              <a:avLst/>
              <a:gdLst>
                <a:gd name="T0" fmla="*/ 0 w 351"/>
                <a:gd name="T1" fmla="*/ 332 h 332"/>
                <a:gd name="T2" fmla="*/ 351 w 351"/>
                <a:gd name="T3" fmla="*/ 0 h 332"/>
              </a:gdLst>
              <a:ahLst/>
              <a:cxnLst>
                <a:cxn ang="0">
                  <a:pos x="T0" y="T1"/>
                </a:cxn>
                <a:cxn ang="0">
                  <a:pos x="T2" y="T3"/>
                </a:cxn>
              </a:cxnLst>
              <a:rect l="0" t="0" r="r" b="b"/>
              <a:pathLst>
                <a:path w="351" h="332">
                  <a:moveTo>
                    <a:pt x="0" y="332"/>
                  </a:moveTo>
                  <a:cubicBezTo>
                    <a:pt x="125" y="232"/>
                    <a:pt x="245" y="121"/>
                    <a:pt x="351"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CDF12911-A240-4580-8788-0C49DB1FEDB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621088" cy="6843713"/>
            </a:xfrm>
            <a:custGeom>
              <a:avLst/>
              <a:gdLst>
                <a:gd name="T0" fmla="*/ 762 w 762"/>
                <a:gd name="T1" fmla="*/ 0 h 1440"/>
                <a:gd name="T2" fmla="*/ 403 w 762"/>
                <a:gd name="T3" fmla="*/ 1440 h 1440"/>
              </a:gdLst>
              <a:ahLst/>
              <a:cxnLst>
                <a:cxn ang="0">
                  <a:pos x="T0" y="T1"/>
                </a:cxn>
                <a:cxn ang="0">
                  <a:pos x="T2" y="T3"/>
                </a:cxn>
              </a:cxnLst>
              <a:rect l="0" t="0" r="r" b="b"/>
              <a:pathLst>
                <a:path w="762" h="1440">
                  <a:moveTo>
                    <a:pt x="762" y="0"/>
                  </a:moveTo>
                  <a:cubicBezTo>
                    <a:pt x="308" y="245"/>
                    <a:pt x="0" y="1033"/>
                    <a:pt x="403"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EAE0F5DE-442D-4F6C-B02C-2568ED19585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501438" y="9525"/>
              <a:ext cx="665163" cy="257175"/>
            </a:xfrm>
            <a:custGeom>
              <a:avLst/>
              <a:gdLst>
                <a:gd name="T0" fmla="*/ 140 w 140"/>
                <a:gd name="T1" fmla="*/ 54 h 54"/>
                <a:gd name="T2" fmla="*/ 0 w 140"/>
                <a:gd name="T3" fmla="*/ 0 h 54"/>
              </a:gdLst>
              <a:ahLst/>
              <a:cxnLst>
                <a:cxn ang="0">
                  <a:pos x="T0" y="T1"/>
                </a:cxn>
                <a:cxn ang="0">
                  <a:pos x="T2" y="T3"/>
                </a:cxn>
              </a:cxnLst>
              <a:rect l="0" t="0" r="r" b="b"/>
              <a:pathLst>
                <a:path w="140" h="54">
                  <a:moveTo>
                    <a:pt x="140" y="54"/>
                  </a:moveTo>
                  <a:cubicBezTo>
                    <a:pt x="95" y="34"/>
                    <a:pt x="48" y="16"/>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4F24A002-AFDE-4034-85BE-CBF005AE92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41013" y="5408613"/>
              <a:ext cx="1525588" cy="1435100"/>
            </a:xfrm>
            <a:custGeom>
              <a:avLst/>
              <a:gdLst>
                <a:gd name="T0" fmla="*/ 0 w 321"/>
                <a:gd name="T1" fmla="*/ 302 h 302"/>
                <a:gd name="T2" fmla="*/ 321 w 321"/>
                <a:gd name="T3" fmla="*/ 0 h 302"/>
              </a:gdLst>
              <a:ahLst/>
              <a:cxnLst>
                <a:cxn ang="0">
                  <a:pos x="T0" y="T1"/>
                </a:cxn>
                <a:cxn ang="0">
                  <a:pos x="T2" y="T3"/>
                </a:cxn>
              </a:cxnLst>
              <a:rect l="0" t="0" r="r" b="b"/>
              <a:pathLst>
                <a:path w="321" h="302">
                  <a:moveTo>
                    <a:pt x="0" y="302"/>
                  </a:moveTo>
                  <a:cubicBezTo>
                    <a:pt x="114" y="210"/>
                    <a:pt x="223" y="109"/>
                    <a:pt x="321"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36F0721E-B4B0-4A6C-A92C-F8DE92D3AC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244850" cy="6843713"/>
            </a:xfrm>
            <a:custGeom>
              <a:avLst/>
              <a:gdLst>
                <a:gd name="T0" fmla="*/ 683 w 683"/>
                <a:gd name="T1" fmla="*/ 0 h 1440"/>
                <a:gd name="T2" fmla="*/ 355 w 683"/>
                <a:gd name="T3" fmla="*/ 1440 h 1440"/>
              </a:gdLst>
              <a:ahLst/>
              <a:cxnLst>
                <a:cxn ang="0">
                  <a:pos x="T0" y="T1"/>
                </a:cxn>
                <a:cxn ang="0">
                  <a:pos x="T2" y="T3"/>
                </a:cxn>
              </a:cxnLst>
              <a:rect l="0" t="0" r="r" b="b"/>
              <a:pathLst>
                <a:path w="683" h="1440">
                  <a:moveTo>
                    <a:pt x="683" y="0"/>
                  </a:moveTo>
                  <a:cubicBezTo>
                    <a:pt x="258" y="256"/>
                    <a:pt x="0" y="1041"/>
                    <a:pt x="35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54D2DC98-69F8-4F2F-9D45-BDFFA5E2BB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802938" y="5518150"/>
              <a:ext cx="1363663" cy="1325563"/>
            </a:xfrm>
            <a:custGeom>
              <a:avLst/>
              <a:gdLst>
                <a:gd name="T0" fmla="*/ 0 w 287"/>
                <a:gd name="T1" fmla="*/ 279 h 279"/>
                <a:gd name="T2" fmla="*/ 287 w 287"/>
                <a:gd name="T3" fmla="*/ 0 h 279"/>
              </a:gdLst>
              <a:ahLst/>
              <a:cxnLst>
                <a:cxn ang="0">
                  <a:pos x="T0" y="T1"/>
                </a:cxn>
                <a:cxn ang="0">
                  <a:pos x="T2" y="T3"/>
                </a:cxn>
              </a:cxnLst>
              <a:rect l="0" t="0" r="r" b="b"/>
              <a:pathLst>
                <a:path w="287" h="279">
                  <a:moveTo>
                    <a:pt x="0" y="279"/>
                  </a:moveTo>
                  <a:cubicBezTo>
                    <a:pt x="101" y="193"/>
                    <a:pt x="198" y="100"/>
                    <a:pt x="287"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0A636E33-DC38-40B9-B941-037E5D8603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89000" y="0"/>
              <a:ext cx="3230563" cy="6843713"/>
            </a:xfrm>
            <a:custGeom>
              <a:avLst/>
              <a:gdLst>
                <a:gd name="T0" fmla="*/ 680 w 680"/>
                <a:gd name="T1" fmla="*/ 0 h 1440"/>
                <a:gd name="T2" fmla="*/ 337 w 680"/>
                <a:gd name="T3" fmla="*/ 1440 h 1440"/>
              </a:gdLst>
              <a:ahLst/>
              <a:cxnLst>
                <a:cxn ang="0">
                  <a:pos x="T0" y="T1"/>
                </a:cxn>
                <a:cxn ang="0">
                  <a:pos x="T2" y="T3"/>
                </a:cxn>
              </a:cxnLst>
              <a:rect l="0" t="0" r="r" b="b"/>
              <a:pathLst>
                <a:path w="680" h="1440">
                  <a:moveTo>
                    <a:pt x="680" y="0"/>
                  </a:moveTo>
                  <a:cubicBezTo>
                    <a:pt x="257" y="265"/>
                    <a:pt x="0" y="1026"/>
                    <a:pt x="337"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03D30690-68C2-4AEC-9789-1495D97E194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79150" y="5694363"/>
              <a:ext cx="1187450" cy="1149350"/>
            </a:xfrm>
            <a:custGeom>
              <a:avLst/>
              <a:gdLst>
                <a:gd name="T0" fmla="*/ 0 w 250"/>
                <a:gd name="T1" fmla="*/ 242 h 242"/>
                <a:gd name="T2" fmla="*/ 250 w 250"/>
                <a:gd name="T3" fmla="*/ 0 h 242"/>
              </a:gdLst>
              <a:ahLst/>
              <a:cxnLst>
                <a:cxn ang="0">
                  <a:pos x="T0" y="T1"/>
                </a:cxn>
                <a:cxn ang="0">
                  <a:pos x="T2" y="T3"/>
                </a:cxn>
              </a:cxnLst>
              <a:rect l="0" t="0" r="r" b="b"/>
              <a:pathLst>
                <a:path w="250" h="242">
                  <a:moveTo>
                    <a:pt x="0" y="242"/>
                  </a:moveTo>
                  <a:cubicBezTo>
                    <a:pt x="88" y="166"/>
                    <a:pt x="172" y="85"/>
                    <a:pt x="25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1020B1B9-821B-49FB-BDC9-57DA08CBC3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84188" y="0"/>
              <a:ext cx="3421063" cy="6843713"/>
            </a:xfrm>
            <a:custGeom>
              <a:avLst/>
              <a:gdLst>
                <a:gd name="T0" fmla="*/ 720 w 720"/>
                <a:gd name="T1" fmla="*/ 0 h 1440"/>
                <a:gd name="T2" fmla="*/ 362 w 720"/>
                <a:gd name="T3" fmla="*/ 1440 h 1440"/>
              </a:gdLst>
              <a:ahLst/>
              <a:cxnLst>
                <a:cxn ang="0">
                  <a:pos x="T0" y="T1"/>
                </a:cxn>
                <a:cxn ang="0">
                  <a:pos x="T2" y="T3"/>
                </a:cxn>
              </a:cxnLst>
              <a:rect l="0" t="0" r="r" b="b"/>
              <a:pathLst>
                <a:path w="720" h="1440">
                  <a:moveTo>
                    <a:pt x="720" y="0"/>
                  </a:moveTo>
                  <a:cubicBezTo>
                    <a:pt x="316" y="282"/>
                    <a:pt x="0" y="1018"/>
                    <a:pt x="362"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720EDCE4-8B18-413F-989E-E79628E5AF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87125" y="6049963"/>
              <a:ext cx="879475" cy="793750"/>
            </a:xfrm>
            <a:custGeom>
              <a:avLst/>
              <a:gdLst>
                <a:gd name="T0" fmla="*/ 0 w 185"/>
                <a:gd name="T1" fmla="*/ 167 h 167"/>
                <a:gd name="T2" fmla="*/ 185 w 185"/>
                <a:gd name="T3" fmla="*/ 0 h 167"/>
              </a:gdLst>
              <a:ahLst/>
              <a:cxnLst>
                <a:cxn ang="0">
                  <a:pos x="T0" y="T1"/>
                </a:cxn>
                <a:cxn ang="0">
                  <a:pos x="T2" y="T3"/>
                </a:cxn>
              </a:cxnLst>
              <a:rect l="0" t="0" r="r" b="b"/>
              <a:pathLst>
                <a:path w="185" h="167">
                  <a:moveTo>
                    <a:pt x="0" y="167"/>
                  </a:moveTo>
                  <a:cubicBezTo>
                    <a:pt x="63" y="114"/>
                    <a:pt x="125" y="58"/>
                    <a:pt x="185"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8563351E-0DDD-4FC8-8D0C-1E446E3C1B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8488" y="0"/>
              <a:ext cx="2717800" cy="6843713"/>
            </a:xfrm>
            <a:custGeom>
              <a:avLst/>
              <a:gdLst>
                <a:gd name="T0" fmla="*/ 572 w 572"/>
                <a:gd name="T1" fmla="*/ 0 h 1440"/>
                <a:gd name="T2" fmla="*/ 164 w 572"/>
                <a:gd name="T3" fmla="*/ 1440 h 1440"/>
              </a:gdLst>
              <a:ahLst/>
              <a:cxnLst>
                <a:cxn ang="0">
                  <a:pos x="T0" y="T1"/>
                </a:cxn>
                <a:cxn ang="0">
                  <a:pos x="T2" y="T3"/>
                </a:cxn>
              </a:cxnLst>
              <a:rect l="0" t="0" r="r" b="b"/>
              <a:pathLst>
                <a:path w="572" h="1440">
                  <a:moveTo>
                    <a:pt x="572" y="0"/>
                  </a:moveTo>
                  <a:cubicBezTo>
                    <a:pt x="213" y="320"/>
                    <a:pt x="0" y="979"/>
                    <a:pt x="164" y="1440"/>
                  </a:cubicBezTo>
                </a:path>
              </a:pathLst>
            </a:custGeom>
            <a:noFill/>
            <a:ln w="12700" cap="flat">
              <a:solidFill>
                <a:schemeClr val="tx1">
                  <a:alpha val="15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15E8B705-64E7-4513-B3CB-BF46C35732B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61938" y="0"/>
              <a:ext cx="2944813" cy="6843713"/>
            </a:xfrm>
            <a:custGeom>
              <a:avLst/>
              <a:gdLst>
                <a:gd name="T0" fmla="*/ 620 w 620"/>
                <a:gd name="T1" fmla="*/ 0 h 1440"/>
                <a:gd name="T2" fmla="*/ 186 w 620"/>
                <a:gd name="T3" fmla="*/ 1440 h 1440"/>
              </a:gdLst>
              <a:ahLst/>
              <a:cxnLst>
                <a:cxn ang="0">
                  <a:pos x="T0" y="T1"/>
                </a:cxn>
                <a:cxn ang="0">
                  <a:pos x="T2" y="T3"/>
                </a:cxn>
              </a:cxnLst>
              <a:rect l="0" t="0" r="r" b="b"/>
              <a:pathLst>
                <a:path w="620" h="1440">
                  <a:moveTo>
                    <a:pt x="620" y="0"/>
                  </a:moveTo>
                  <a:cubicBezTo>
                    <a:pt x="248" y="325"/>
                    <a:pt x="0" y="960"/>
                    <a:pt x="186" y="1440"/>
                  </a:cubicBezTo>
                </a:path>
              </a:pathLst>
            </a:custGeom>
            <a:noFill/>
            <a:ln w="9525" cap="flat">
              <a:solidFill>
                <a:schemeClr val="tx1">
                  <a:alpha val="15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30DAEE1C-EBB5-47F5-9E76-564FCFDBFC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17513" y="0"/>
              <a:ext cx="2403475" cy="6843713"/>
            </a:xfrm>
            <a:custGeom>
              <a:avLst/>
              <a:gdLst>
                <a:gd name="T0" fmla="*/ 506 w 506"/>
                <a:gd name="T1" fmla="*/ 0 h 1440"/>
                <a:gd name="T2" fmla="*/ 171 w 506"/>
                <a:gd name="T3" fmla="*/ 1440 h 1440"/>
              </a:gdLst>
              <a:ahLst/>
              <a:cxnLst>
                <a:cxn ang="0">
                  <a:pos x="T0" y="T1"/>
                </a:cxn>
                <a:cxn ang="0">
                  <a:pos x="T2" y="T3"/>
                </a:cxn>
              </a:cxnLst>
              <a:rect l="0" t="0" r="r" b="b"/>
              <a:pathLst>
                <a:path w="506" h="1440">
                  <a:moveTo>
                    <a:pt x="506" y="0"/>
                  </a:moveTo>
                  <a:cubicBezTo>
                    <a:pt x="109" y="356"/>
                    <a:pt x="0" y="943"/>
                    <a:pt x="171"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EDB255E9-A3E2-4098-99A1-FE38FAD15D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9525"/>
              <a:ext cx="1771650" cy="3198813"/>
            </a:xfrm>
            <a:custGeom>
              <a:avLst/>
              <a:gdLst>
                <a:gd name="T0" fmla="*/ 373 w 373"/>
                <a:gd name="T1" fmla="*/ 0 h 673"/>
                <a:gd name="T2" fmla="*/ 0 w 373"/>
                <a:gd name="T3" fmla="*/ 673 h 673"/>
              </a:gdLst>
              <a:ahLst/>
              <a:cxnLst>
                <a:cxn ang="0">
                  <a:pos x="T0" y="T1"/>
                </a:cxn>
                <a:cxn ang="0">
                  <a:pos x="T2" y="T3"/>
                </a:cxn>
              </a:cxnLst>
              <a:rect l="0" t="0" r="r" b="b"/>
              <a:pathLst>
                <a:path w="373" h="673">
                  <a:moveTo>
                    <a:pt x="373" y="0"/>
                  </a:moveTo>
                  <a:cubicBezTo>
                    <a:pt x="175" y="183"/>
                    <a:pt x="51" y="409"/>
                    <a:pt x="0" y="673"/>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D2507F2A-27AF-4833-8273-5FC9A98863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763" y="6016625"/>
              <a:ext cx="214313" cy="827088"/>
            </a:xfrm>
            <a:custGeom>
              <a:avLst/>
              <a:gdLst>
                <a:gd name="T0" fmla="*/ 0 w 45"/>
                <a:gd name="T1" fmla="*/ 0 h 174"/>
                <a:gd name="T2" fmla="*/ 45 w 45"/>
                <a:gd name="T3" fmla="*/ 174 h 174"/>
              </a:gdLst>
              <a:ahLst/>
              <a:cxnLst>
                <a:cxn ang="0">
                  <a:pos x="T0" y="T1"/>
                </a:cxn>
                <a:cxn ang="0">
                  <a:pos x="T2" y="T3"/>
                </a:cxn>
              </a:cxnLst>
              <a:rect l="0" t="0" r="r" b="b"/>
              <a:pathLst>
                <a:path w="45" h="174">
                  <a:moveTo>
                    <a:pt x="0" y="0"/>
                  </a:moveTo>
                  <a:cubicBezTo>
                    <a:pt x="11" y="59"/>
                    <a:pt x="26" y="118"/>
                    <a:pt x="45" y="174"/>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8DFB8904-0CB8-45AD-ABD2-F7A582365E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0"/>
              <a:ext cx="1562100" cy="2228850"/>
            </a:xfrm>
            <a:custGeom>
              <a:avLst/>
              <a:gdLst>
                <a:gd name="T0" fmla="*/ 329 w 329"/>
                <a:gd name="T1" fmla="*/ 0 h 469"/>
                <a:gd name="T2" fmla="*/ 0 w 329"/>
                <a:gd name="T3" fmla="*/ 469 h 469"/>
              </a:gdLst>
              <a:ahLst/>
              <a:cxnLst>
                <a:cxn ang="0">
                  <a:pos x="T0" y="T1"/>
                </a:cxn>
                <a:cxn ang="0">
                  <a:pos x="T2" y="T3"/>
                </a:cxn>
              </a:cxnLst>
              <a:rect l="0" t="0" r="r" b="b"/>
              <a:pathLst>
                <a:path w="329" h="469">
                  <a:moveTo>
                    <a:pt x="329" y="0"/>
                  </a:moveTo>
                  <a:cubicBezTo>
                    <a:pt x="189" y="133"/>
                    <a:pt x="69" y="288"/>
                    <a:pt x="0" y="469"/>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pic>
        <p:nvPicPr>
          <p:cNvPr id="43" name="Espace réservé du contenu 42">
            <a:extLst>
              <a:ext uri="{FF2B5EF4-FFF2-40B4-BE49-F238E27FC236}">
                <a16:creationId xmlns:a16="http://schemas.microsoft.com/office/drawing/2014/main" id="{75F83CB2-3FD3-4998-913A-993E154A6722}"/>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1009975" y="610140"/>
            <a:ext cx="10562900" cy="4293647"/>
          </a:xfrm>
        </p:spPr>
      </p:pic>
    </p:spTree>
    <p:extLst>
      <p:ext uri="{BB962C8B-B14F-4D97-AF65-F5344CB8AC3E}">
        <p14:creationId xmlns:p14="http://schemas.microsoft.com/office/powerpoint/2010/main" val="27983864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77" name="Rectangle 76">
            <a:extLst>
              <a:ext uri="{FF2B5EF4-FFF2-40B4-BE49-F238E27FC236}">
                <a16:creationId xmlns:a16="http://schemas.microsoft.com/office/drawing/2014/main" id="{8537B233-9CDD-4A90-AABB-A8963DEE4F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8153400" y="818457"/>
            <a:ext cx="3322317" cy="2975876"/>
          </a:xfrm>
          <a:prstGeom prst="ellipse">
            <a:avLst/>
          </a:prstGeom>
        </p:spPr>
        <p:txBody>
          <a:bodyPr vert="horz" lIns="91440" tIns="45720" rIns="91440" bIns="45720" rtlCol="0" anchor="b">
            <a:normAutofit/>
          </a:bodyPr>
          <a:lstStyle/>
          <a:p>
            <a:br>
              <a:rPr lang="en-US" sz="3100" kern="1200" dirty="0">
                <a:solidFill>
                  <a:schemeClr val="tx1"/>
                </a:solidFill>
                <a:latin typeface="+mj-lt"/>
                <a:ea typeface="+mj-ea"/>
                <a:cs typeface="+mj-cs"/>
              </a:rPr>
            </a:br>
            <a:endParaRPr lang="en-US" sz="3100" kern="1200" dirty="0">
              <a:solidFill>
                <a:schemeClr val="tx1"/>
              </a:solidFill>
              <a:latin typeface="+mj-lt"/>
              <a:ea typeface="+mj-ea"/>
              <a:cs typeface="+mj-cs"/>
            </a:endParaRPr>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t="21540" b="21540"/>
          <a:stretch/>
        </p:blipFill>
        <p:spPr>
          <a:xfrm>
            <a:off x="716280" y="2215808"/>
            <a:ext cx="5401937" cy="2036367"/>
          </a:xfrm>
          <a:prstGeom prst="rect">
            <a:avLst/>
          </a:prstGeom>
        </p:spPr>
      </p:pic>
      <p:cxnSp>
        <p:nvCxnSpPr>
          <p:cNvPr id="79" name="Straight Connector 78">
            <a:extLst>
              <a:ext uri="{FF2B5EF4-FFF2-40B4-BE49-F238E27FC236}">
                <a16:creationId xmlns:a16="http://schemas.microsoft.com/office/drawing/2014/main" id="{040575EE-C594-4566-BC00-663004E52AB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617861" y="1417320"/>
            <a:ext cx="0" cy="40233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 name="ZoneTexte 4">
            <a:extLst>
              <a:ext uri="{FF2B5EF4-FFF2-40B4-BE49-F238E27FC236}">
                <a16:creationId xmlns:a16="http://schemas.microsoft.com/office/drawing/2014/main" id="{DFEA2082-E7DE-4453-8158-54F380B94285}"/>
              </a:ext>
            </a:extLst>
          </p:cNvPr>
          <p:cNvSpPr txBox="1"/>
          <p:nvPr/>
        </p:nvSpPr>
        <p:spPr>
          <a:xfrm>
            <a:off x="8045042" y="1417320"/>
            <a:ext cx="3649777" cy="1138773"/>
          </a:xfrm>
          <a:prstGeom prst="rect">
            <a:avLst/>
          </a:prstGeom>
          <a:noFill/>
        </p:spPr>
        <p:txBody>
          <a:bodyPr wrap="square" rtlCol="0">
            <a:spAutoFit/>
          </a:bodyPr>
          <a:lstStyle/>
          <a:p>
            <a:r>
              <a:rPr lang="fr-FR" sz="3200" dirty="0">
                <a:latin typeface="Arial" panose="020B0604020202020204" pitchFamily="34" charset="0"/>
                <a:cs typeface="Arial" panose="020B0604020202020204" pitchFamily="34" charset="0"/>
              </a:rPr>
              <a:t>LAB</a:t>
            </a:r>
          </a:p>
          <a:p>
            <a:endParaRPr lang="fr-FR" dirty="0"/>
          </a:p>
          <a:p>
            <a:endParaRPr lang="fr-FR" dirty="0"/>
          </a:p>
        </p:txBody>
      </p:sp>
    </p:spTree>
    <p:extLst>
      <p:ext uri="{BB962C8B-B14F-4D97-AF65-F5344CB8AC3E}">
        <p14:creationId xmlns:p14="http://schemas.microsoft.com/office/powerpoint/2010/main" val="696502473"/>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82413CC-69E6-4BDA-A88D-E4EF8F95B2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4F1F7357-8633-4CE7-BF80-475EE8A2FAE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4" name="Freeform 5">
              <a:extLst>
                <a:ext uri="{FF2B5EF4-FFF2-40B4-BE49-F238E27FC236}">
                  <a16:creationId xmlns:a16="http://schemas.microsoft.com/office/drawing/2014/main" id="{E402FE4E-C12D-497C-AF81-F08E4E02B4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306513" y="0"/>
              <a:ext cx="3862388" cy="6843713"/>
            </a:xfrm>
            <a:custGeom>
              <a:avLst/>
              <a:gdLst>
                <a:gd name="T0" fmla="*/ 813 w 813"/>
                <a:gd name="T1" fmla="*/ 0 h 1440"/>
                <a:gd name="T2" fmla="*/ 435 w 813"/>
                <a:gd name="T3" fmla="*/ 1440 h 1440"/>
              </a:gdLst>
              <a:ahLst/>
              <a:cxnLst>
                <a:cxn ang="0">
                  <a:pos x="T0" y="T1"/>
                </a:cxn>
                <a:cxn ang="0">
                  <a:pos x="T2" y="T3"/>
                </a:cxn>
              </a:cxnLst>
              <a:rect l="0" t="0" r="r" b="b"/>
              <a:pathLst>
                <a:path w="813" h="1440">
                  <a:moveTo>
                    <a:pt x="813" y="0"/>
                  </a:moveTo>
                  <a:cubicBezTo>
                    <a:pt x="331" y="221"/>
                    <a:pt x="0" y="1039"/>
                    <a:pt x="43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59247B10-170D-4E62-849A-38FCB43C6A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26725" y="9525"/>
              <a:ext cx="1539875" cy="555625"/>
            </a:xfrm>
            <a:custGeom>
              <a:avLst/>
              <a:gdLst>
                <a:gd name="T0" fmla="*/ 324 w 324"/>
                <a:gd name="T1" fmla="*/ 117 h 117"/>
                <a:gd name="T2" fmla="*/ 0 w 324"/>
                <a:gd name="T3" fmla="*/ 0 h 117"/>
              </a:gdLst>
              <a:ahLst/>
              <a:cxnLst>
                <a:cxn ang="0">
                  <a:pos x="T0" y="T1"/>
                </a:cxn>
                <a:cxn ang="0">
                  <a:pos x="T2" y="T3"/>
                </a:cxn>
              </a:cxnLst>
              <a:rect l="0" t="0" r="r" b="b"/>
              <a:pathLst>
                <a:path w="324" h="117">
                  <a:moveTo>
                    <a:pt x="324" y="117"/>
                  </a:moveTo>
                  <a:cubicBezTo>
                    <a:pt x="223" y="64"/>
                    <a:pt x="107" y="28"/>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89A587A7-1BEF-45AA-9EFC-6558A8749C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247313" y="5013325"/>
              <a:ext cx="1919288" cy="1830388"/>
            </a:xfrm>
            <a:custGeom>
              <a:avLst/>
              <a:gdLst>
                <a:gd name="T0" fmla="*/ 0 w 404"/>
                <a:gd name="T1" fmla="*/ 385 h 385"/>
                <a:gd name="T2" fmla="*/ 404 w 404"/>
                <a:gd name="T3" fmla="*/ 0 h 385"/>
              </a:gdLst>
              <a:ahLst/>
              <a:cxnLst>
                <a:cxn ang="0">
                  <a:pos x="T0" y="T1"/>
                </a:cxn>
                <a:cxn ang="0">
                  <a:pos x="T2" y="T3"/>
                </a:cxn>
              </a:cxnLst>
              <a:rect l="0" t="0" r="r" b="b"/>
              <a:pathLst>
                <a:path w="404" h="385">
                  <a:moveTo>
                    <a:pt x="0" y="385"/>
                  </a:moveTo>
                  <a:cubicBezTo>
                    <a:pt x="146" y="272"/>
                    <a:pt x="285" y="142"/>
                    <a:pt x="404"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AC25B5A1-6EF7-44EC-A2F0-1EDC96A79B0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775" y="0"/>
              <a:ext cx="3676650" cy="6843713"/>
            </a:xfrm>
            <a:custGeom>
              <a:avLst/>
              <a:gdLst>
                <a:gd name="T0" fmla="*/ 774 w 774"/>
                <a:gd name="T1" fmla="*/ 0 h 1440"/>
                <a:gd name="T2" fmla="*/ 411 w 774"/>
                <a:gd name="T3" fmla="*/ 1440 h 1440"/>
              </a:gdLst>
              <a:ahLst/>
              <a:cxnLst>
                <a:cxn ang="0">
                  <a:pos x="T0" y="T1"/>
                </a:cxn>
                <a:cxn ang="0">
                  <a:pos x="T2" y="T3"/>
                </a:cxn>
              </a:cxnLst>
              <a:rect l="0" t="0" r="r" b="b"/>
              <a:pathLst>
                <a:path w="774" h="1440">
                  <a:moveTo>
                    <a:pt x="774" y="0"/>
                  </a:moveTo>
                  <a:cubicBezTo>
                    <a:pt x="312" y="240"/>
                    <a:pt x="0" y="1034"/>
                    <a:pt x="411" y="144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80B8582C-7E17-4115-9FF1-979C8405CB5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2988" y="9525"/>
              <a:ext cx="963613" cy="366713"/>
            </a:xfrm>
            <a:custGeom>
              <a:avLst/>
              <a:gdLst>
                <a:gd name="T0" fmla="*/ 203 w 203"/>
                <a:gd name="T1" fmla="*/ 77 h 77"/>
                <a:gd name="T2" fmla="*/ 0 w 203"/>
                <a:gd name="T3" fmla="*/ 0 h 77"/>
              </a:gdLst>
              <a:ahLst/>
              <a:cxnLst>
                <a:cxn ang="0">
                  <a:pos x="T0" y="T1"/>
                </a:cxn>
                <a:cxn ang="0">
                  <a:pos x="T2" y="T3"/>
                </a:cxn>
              </a:cxnLst>
              <a:rect l="0" t="0" r="r" b="b"/>
              <a:pathLst>
                <a:path w="203" h="77">
                  <a:moveTo>
                    <a:pt x="203" y="77"/>
                  </a:moveTo>
                  <a:cubicBezTo>
                    <a:pt x="138" y="46"/>
                    <a:pt x="68" y="21"/>
                    <a:pt x="0"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F6C4AB66-7A18-4E51-935B-237F4CA8272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494963" y="5275263"/>
              <a:ext cx="1666875" cy="1577975"/>
            </a:xfrm>
            <a:custGeom>
              <a:avLst/>
              <a:gdLst>
                <a:gd name="T0" fmla="*/ 0 w 351"/>
                <a:gd name="T1" fmla="*/ 332 h 332"/>
                <a:gd name="T2" fmla="*/ 351 w 351"/>
                <a:gd name="T3" fmla="*/ 0 h 332"/>
              </a:gdLst>
              <a:ahLst/>
              <a:cxnLst>
                <a:cxn ang="0">
                  <a:pos x="T0" y="T1"/>
                </a:cxn>
                <a:cxn ang="0">
                  <a:pos x="T2" y="T3"/>
                </a:cxn>
              </a:cxnLst>
              <a:rect l="0" t="0" r="r" b="b"/>
              <a:pathLst>
                <a:path w="351" h="332">
                  <a:moveTo>
                    <a:pt x="0" y="332"/>
                  </a:moveTo>
                  <a:cubicBezTo>
                    <a:pt x="125" y="232"/>
                    <a:pt x="245" y="121"/>
                    <a:pt x="351"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CDF12911-A240-4580-8788-0C49DB1FEDB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621088" cy="6843713"/>
            </a:xfrm>
            <a:custGeom>
              <a:avLst/>
              <a:gdLst>
                <a:gd name="T0" fmla="*/ 762 w 762"/>
                <a:gd name="T1" fmla="*/ 0 h 1440"/>
                <a:gd name="T2" fmla="*/ 403 w 762"/>
                <a:gd name="T3" fmla="*/ 1440 h 1440"/>
              </a:gdLst>
              <a:ahLst/>
              <a:cxnLst>
                <a:cxn ang="0">
                  <a:pos x="T0" y="T1"/>
                </a:cxn>
                <a:cxn ang="0">
                  <a:pos x="T2" y="T3"/>
                </a:cxn>
              </a:cxnLst>
              <a:rect l="0" t="0" r="r" b="b"/>
              <a:pathLst>
                <a:path w="762" h="1440">
                  <a:moveTo>
                    <a:pt x="762" y="0"/>
                  </a:moveTo>
                  <a:cubicBezTo>
                    <a:pt x="308" y="245"/>
                    <a:pt x="0" y="1033"/>
                    <a:pt x="403"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EAE0F5DE-442D-4F6C-B02C-2568ED19585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501438" y="9525"/>
              <a:ext cx="665163" cy="257175"/>
            </a:xfrm>
            <a:custGeom>
              <a:avLst/>
              <a:gdLst>
                <a:gd name="T0" fmla="*/ 140 w 140"/>
                <a:gd name="T1" fmla="*/ 54 h 54"/>
                <a:gd name="T2" fmla="*/ 0 w 140"/>
                <a:gd name="T3" fmla="*/ 0 h 54"/>
              </a:gdLst>
              <a:ahLst/>
              <a:cxnLst>
                <a:cxn ang="0">
                  <a:pos x="T0" y="T1"/>
                </a:cxn>
                <a:cxn ang="0">
                  <a:pos x="T2" y="T3"/>
                </a:cxn>
              </a:cxnLst>
              <a:rect l="0" t="0" r="r" b="b"/>
              <a:pathLst>
                <a:path w="140" h="54">
                  <a:moveTo>
                    <a:pt x="140" y="54"/>
                  </a:moveTo>
                  <a:cubicBezTo>
                    <a:pt x="95" y="34"/>
                    <a:pt x="48" y="16"/>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4F24A002-AFDE-4034-85BE-CBF005AE92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41013" y="5408613"/>
              <a:ext cx="1525588" cy="1435100"/>
            </a:xfrm>
            <a:custGeom>
              <a:avLst/>
              <a:gdLst>
                <a:gd name="T0" fmla="*/ 0 w 321"/>
                <a:gd name="T1" fmla="*/ 302 h 302"/>
                <a:gd name="T2" fmla="*/ 321 w 321"/>
                <a:gd name="T3" fmla="*/ 0 h 302"/>
              </a:gdLst>
              <a:ahLst/>
              <a:cxnLst>
                <a:cxn ang="0">
                  <a:pos x="T0" y="T1"/>
                </a:cxn>
                <a:cxn ang="0">
                  <a:pos x="T2" y="T3"/>
                </a:cxn>
              </a:cxnLst>
              <a:rect l="0" t="0" r="r" b="b"/>
              <a:pathLst>
                <a:path w="321" h="302">
                  <a:moveTo>
                    <a:pt x="0" y="302"/>
                  </a:moveTo>
                  <a:cubicBezTo>
                    <a:pt x="114" y="210"/>
                    <a:pt x="223" y="109"/>
                    <a:pt x="321"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36F0721E-B4B0-4A6C-A92C-F8DE92D3AC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244850" cy="6843713"/>
            </a:xfrm>
            <a:custGeom>
              <a:avLst/>
              <a:gdLst>
                <a:gd name="T0" fmla="*/ 683 w 683"/>
                <a:gd name="T1" fmla="*/ 0 h 1440"/>
                <a:gd name="T2" fmla="*/ 355 w 683"/>
                <a:gd name="T3" fmla="*/ 1440 h 1440"/>
              </a:gdLst>
              <a:ahLst/>
              <a:cxnLst>
                <a:cxn ang="0">
                  <a:pos x="T0" y="T1"/>
                </a:cxn>
                <a:cxn ang="0">
                  <a:pos x="T2" y="T3"/>
                </a:cxn>
              </a:cxnLst>
              <a:rect l="0" t="0" r="r" b="b"/>
              <a:pathLst>
                <a:path w="683" h="1440">
                  <a:moveTo>
                    <a:pt x="683" y="0"/>
                  </a:moveTo>
                  <a:cubicBezTo>
                    <a:pt x="258" y="256"/>
                    <a:pt x="0" y="1041"/>
                    <a:pt x="35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54D2DC98-69F8-4F2F-9D45-BDFFA5E2BB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802938" y="5518150"/>
              <a:ext cx="1363663" cy="1325563"/>
            </a:xfrm>
            <a:custGeom>
              <a:avLst/>
              <a:gdLst>
                <a:gd name="T0" fmla="*/ 0 w 287"/>
                <a:gd name="T1" fmla="*/ 279 h 279"/>
                <a:gd name="T2" fmla="*/ 287 w 287"/>
                <a:gd name="T3" fmla="*/ 0 h 279"/>
              </a:gdLst>
              <a:ahLst/>
              <a:cxnLst>
                <a:cxn ang="0">
                  <a:pos x="T0" y="T1"/>
                </a:cxn>
                <a:cxn ang="0">
                  <a:pos x="T2" y="T3"/>
                </a:cxn>
              </a:cxnLst>
              <a:rect l="0" t="0" r="r" b="b"/>
              <a:pathLst>
                <a:path w="287" h="279">
                  <a:moveTo>
                    <a:pt x="0" y="279"/>
                  </a:moveTo>
                  <a:cubicBezTo>
                    <a:pt x="101" y="193"/>
                    <a:pt x="198" y="100"/>
                    <a:pt x="287"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0A636E33-DC38-40B9-B941-037E5D8603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89000" y="0"/>
              <a:ext cx="3230563" cy="6843713"/>
            </a:xfrm>
            <a:custGeom>
              <a:avLst/>
              <a:gdLst>
                <a:gd name="T0" fmla="*/ 680 w 680"/>
                <a:gd name="T1" fmla="*/ 0 h 1440"/>
                <a:gd name="T2" fmla="*/ 337 w 680"/>
                <a:gd name="T3" fmla="*/ 1440 h 1440"/>
              </a:gdLst>
              <a:ahLst/>
              <a:cxnLst>
                <a:cxn ang="0">
                  <a:pos x="T0" y="T1"/>
                </a:cxn>
                <a:cxn ang="0">
                  <a:pos x="T2" y="T3"/>
                </a:cxn>
              </a:cxnLst>
              <a:rect l="0" t="0" r="r" b="b"/>
              <a:pathLst>
                <a:path w="680" h="1440">
                  <a:moveTo>
                    <a:pt x="680" y="0"/>
                  </a:moveTo>
                  <a:cubicBezTo>
                    <a:pt x="257" y="265"/>
                    <a:pt x="0" y="1026"/>
                    <a:pt x="337"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03D30690-68C2-4AEC-9789-1495D97E194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79150" y="5694363"/>
              <a:ext cx="1187450" cy="1149350"/>
            </a:xfrm>
            <a:custGeom>
              <a:avLst/>
              <a:gdLst>
                <a:gd name="T0" fmla="*/ 0 w 250"/>
                <a:gd name="T1" fmla="*/ 242 h 242"/>
                <a:gd name="T2" fmla="*/ 250 w 250"/>
                <a:gd name="T3" fmla="*/ 0 h 242"/>
              </a:gdLst>
              <a:ahLst/>
              <a:cxnLst>
                <a:cxn ang="0">
                  <a:pos x="T0" y="T1"/>
                </a:cxn>
                <a:cxn ang="0">
                  <a:pos x="T2" y="T3"/>
                </a:cxn>
              </a:cxnLst>
              <a:rect l="0" t="0" r="r" b="b"/>
              <a:pathLst>
                <a:path w="250" h="242">
                  <a:moveTo>
                    <a:pt x="0" y="242"/>
                  </a:moveTo>
                  <a:cubicBezTo>
                    <a:pt x="88" y="166"/>
                    <a:pt x="172" y="85"/>
                    <a:pt x="25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1020B1B9-821B-49FB-BDC9-57DA08CBC3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84188" y="0"/>
              <a:ext cx="3421063" cy="6843713"/>
            </a:xfrm>
            <a:custGeom>
              <a:avLst/>
              <a:gdLst>
                <a:gd name="T0" fmla="*/ 720 w 720"/>
                <a:gd name="T1" fmla="*/ 0 h 1440"/>
                <a:gd name="T2" fmla="*/ 362 w 720"/>
                <a:gd name="T3" fmla="*/ 1440 h 1440"/>
              </a:gdLst>
              <a:ahLst/>
              <a:cxnLst>
                <a:cxn ang="0">
                  <a:pos x="T0" y="T1"/>
                </a:cxn>
                <a:cxn ang="0">
                  <a:pos x="T2" y="T3"/>
                </a:cxn>
              </a:cxnLst>
              <a:rect l="0" t="0" r="r" b="b"/>
              <a:pathLst>
                <a:path w="720" h="1440">
                  <a:moveTo>
                    <a:pt x="720" y="0"/>
                  </a:moveTo>
                  <a:cubicBezTo>
                    <a:pt x="316" y="282"/>
                    <a:pt x="0" y="1018"/>
                    <a:pt x="362"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720EDCE4-8B18-413F-989E-E79628E5AF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87125" y="6049963"/>
              <a:ext cx="879475" cy="793750"/>
            </a:xfrm>
            <a:custGeom>
              <a:avLst/>
              <a:gdLst>
                <a:gd name="T0" fmla="*/ 0 w 185"/>
                <a:gd name="T1" fmla="*/ 167 h 167"/>
                <a:gd name="T2" fmla="*/ 185 w 185"/>
                <a:gd name="T3" fmla="*/ 0 h 167"/>
              </a:gdLst>
              <a:ahLst/>
              <a:cxnLst>
                <a:cxn ang="0">
                  <a:pos x="T0" y="T1"/>
                </a:cxn>
                <a:cxn ang="0">
                  <a:pos x="T2" y="T3"/>
                </a:cxn>
              </a:cxnLst>
              <a:rect l="0" t="0" r="r" b="b"/>
              <a:pathLst>
                <a:path w="185" h="167">
                  <a:moveTo>
                    <a:pt x="0" y="167"/>
                  </a:moveTo>
                  <a:cubicBezTo>
                    <a:pt x="63" y="114"/>
                    <a:pt x="125" y="58"/>
                    <a:pt x="185"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8563351E-0DDD-4FC8-8D0C-1E446E3C1B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8488" y="0"/>
              <a:ext cx="2717800" cy="6843713"/>
            </a:xfrm>
            <a:custGeom>
              <a:avLst/>
              <a:gdLst>
                <a:gd name="T0" fmla="*/ 572 w 572"/>
                <a:gd name="T1" fmla="*/ 0 h 1440"/>
                <a:gd name="T2" fmla="*/ 164 w 572"/>
                <a:gd name="T3" fmla="*/ 1440 h 1440"/>
              </a:gdLst>
              <a:ahLst/>
              <a:cxnLst>
                <a:cxn ang="0">
                  <a:pos x="T0" y="T1"/>
                </a:cxn>
                <a:cxn ang="0">
                  <a:pos x="T2" y="T3"/>
                </a:cxn>
              </a:cxnLst>
              <a:rect l="0" t="0" r="r" b="b"/>
              <a:pathLst>
                <a:path w="572" h="1440">
                  <a:moveTo>
                    <a:pt x="572" y="0"/>
                  </a:moveTo>
                  <a:cubicBezTo>
                    <a:pt x="213" y="320"/>
                    <a:pt x="0" y="979"/>
                    <a:pt x="164" y="1440"/>
                  </a:cubicBezTo>
                </a:path>
              </a:pathLst>
            </a:custGeom>
            <a:noFill/>
            <a:ln w="12700" cap="flat">
              <a:solidFill>
                <a:schemeClr val="tx1">
                  <a:alpha val="15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15E8B705-64E7-4513-B3CB-BF46C35732B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61938" y="0"/>
              <a:ext cx="2944813" cy="6843713"/>
            </a:xfrm>
            <a:custGeom>
              <a:avLst/>
              <a:gdLst>
                <a:gd name="T0" fmla="*/ 620 w 620"/>
                <a:gd name="T1" fmla="*/ 0 h 1440"/>
                <a:gd name="T2" fmla="*/ 186 w 620"/>
                <a:gd name="T3" fmla="*/ 1440 h 1440"/>
              </a:gdLst>
              <a:ahLst/>
              <a:cxnLst>
                <a:cxn ang="0">
                  <a:pos x="T0" y="T1"/>
                </a:cxn>
                <a:cxn ang="0">
                  <a:pos x="T2" y="T3"/>
                </a:cxn>
              </a:cxnLst>
              <a:rect l="0" t="0" r="r" b="b"/>
              <a:pathLst>
                <a:path w="620" h="1440">
                  <a:moveTo>
                    <a:pt x="620" y="0"/>
                  </a:moveTo>
                  <a:cubicBezTo>
                    <a:pt x="248" y="325"/>
                    <a:pt x="0" y="960"/>
                    <a:pt x="186" y="1440"/>
                  </a:cubicBezTo>
                </a:path>
              </a:pathLst>
            </a:custGeom>
            <a:noFill/>
            <a:ln w="9525" cap="flat">
              <a:solidFill>
                <a:schemeClr val="tx1">
                  <a:alpha val="15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30DAEE1C-EBB5-47F5-9E76-564FCFDBFC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17513" y="0"/>
              <a:ext cx="2403475" cy="6843713"/>
            </a:xfrm>
            <a:custGeom>
              <a:avLst/>
              <a:gdLst>
                <a:gd name="T0" fmla="*/ 506 w 506"/>
                <a:gd name="T1" fmla="*/ 0 h 1440"/>
                <a:gd name="T2" fmla="*/ 171 w 506"/>
                <a:gd name="T3" fmla="*/ 1440 h 1440"/>
              </a:gdLst>
              <a:ahLst/>
              <a:cxnLst>
                <a:cxn ang="0">
                  <a:pos x="T0" y="T1"/>
                </a:cxn>
                <a:cxn ang="0">
                  <a:pos x="T2" y="T3"/>
                </a:cxn>
              </a:cxnLst>
              <a:rect l="0" t="0" r="r" b="b"/>
              <a:pathLst>
                <a:path w="506" h="1440">
                  <a:moveTo>
                    <a:pt x="506" y="0"/>
                  </a:moveTo>
                  <a:cubicBezTo>
                    <a:pt x="109" y="356"/>
                    <a:pt x="0" y="943"/>
                    <a:pt x="171"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EDB255E9-A3E2-4098-99A1-FE38FAD15D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9525"/>
              <a:ext cx="1771650" cy="3198813"/>
            </a:xfrm>
            <a:custGeom>
              <a:avLst/>
              <a:gdLst>
                <a:gd name="T0" fmla="*/ 373 w 373"/>
                <a:gd name="T1" fmla="*/ 0 h 673"/>
                <a:gd name="T2" fmla="*/ 0 w 373"/>
                <a:gd name="T3" fmla="*/ 673 h 673"/>
              </a:gdLst>
              <a:ahLst/>
              <a:cxnLst>
                <a:cxn ang="0">
                  <a:pos x="T0" y="T1"/>
                </a:cxn>
                <a:cxn ang="0">
                  <a:pos x="T2" y="T3"/>
                </a:cxn>
              </a:cxnLst>
              <a:rect l="0" t="0" r="r" b="b"/>
              <a:pathLst>
                <a:path w="373" h="673">
                  <a:moveTo>
                    <a:pt x="373" y="0"/>
                  </a:moveTo>
                  <a:cubicBezTo>
                    <a:pt x="175" y="183"/>
                    <a:pt x="51" y="409"/>
                    <a:pt x="0" y="673"/>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D2507F2A-27AF-4833-8273-5FC9A98863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763" y="6016625"/>
              <a:ext cx="214313" cy="827088"/>
            </a:xfrm>
            <a:custGeom>
              <a:avLst/>
              <a:gdLst>
                <a:gd name="T0" fmla="*/ 0 w 45"/>
                <a:gd name="T1" fmla="*/ 0 h 174"/>
                <a:gd name="T2" fmla="*/ 45 w 45"/>
                <a:gd name="T3" fmla="*/ 174 h 174"/>
              </a:gdLst>
              <a:ahLst/>
              <a:cxnLst>
                <a:cxn ang="0">
                  <a:pos x="T0" y="T1"/>
                </a:cxn>
                <a:cxn ang="0">
                  <a:pos x="T2" y="T3"/>
                </a:cxn>
              </a:cxnLst>
              <a:rect l="0" t="0" r="r" b="b"/>
              <a:pathLst>
                <a:path w="45" h="174">
                  <a:moveTo>
                    <a:pt x="0" y="0"/>
                  </a:moveTo>
                  <a:cubicBezTo>
                    <a:pt x="11" y="59"/>
                    <a:pt x="26" y="118"/>
                    <a:pt x="45" y="174"/>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8DFB8904-0CB8-45AD-ABD2-F7A582365E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0"/>
              <a:ext cx="1562100" cy="2228850"/>
            </a:xfrm>
            <a:custGeom>
              <a:avLst/>
              <a:gdLst>
                <a:gd name="T0" fmla="*/ 329 w 329"/>
                <a:gd name="T1" fmla="*/ 0 h 469"/>
                <a:gd name="T2" fmla="*/ 0 w 329"/>
                <a:gd name="T3" fmla="*/ 469 h 469"/>
              </a:gdLst>
              <a:ahLst/>
              <a:cxnLst>
                <a:cxn ang="0">
                  <a:pos x="T0" y="T1"/>
                </a:cxn>
                <a:cxn ang="0">
                  <a:pos x="T2" y="T3"/>
                </a:cxn>
              </a:cxnLst>
              <a:rect l="0" t="0" r="r" b="b"/>
              <a:pathLst>
                <a:path w="329" h="469">
                  <a:moveTo>
                    <a:pt x="329" y="0"/>
                  </a:moveTo>
                  <a:cubicBezTo>
                    <a:pt x="189" y="133"/>
                    <a:pt x="69" y="288"/>
                    <a:pt x="0" y="469"/>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pic>
        <p:nvPicPr>
          <p:cNvPr id="43" name="Espace réservé du contenu 42">
            <a:extLst>
              <a:ext uri="{FF2B5EF4-FFF2-40B4-BE49-F238E27FC236}">
                <a16:creationId xmlns:a16="http://schemas.microsoft.com/office/drawing/2014/main" id="{75F83CB2-3FD3-4998-913A-993E154A6722}"/>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14852" y="266242"/>
            <a:ext cx="10713548" cy="6098482"/>
          </a:xfrm>
        </p:spPr>
      </p:pic>
    </p:spTree>
    <p:extLst>
      <p:ext uri="{BB962C8B-B14F-4D97-AF65-F5344CB8AC3E}">
        <p14:creationId xmlns:p14="http://schemas.microsoft.com/office/powerpoint/2010/main" val="41746187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82413CC-69E6-4BDA-A88D-E4EF8F95B2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4F1F7357-8633-4CE7-BF80-475EE8A2FAE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4" name="Freeform 5">
              <a:extLst>
                <a:ext uri="{FF2B5EF4-FFF2-40B4-BE49-F238E27FC236}">
                  <a16:creationId xmlns:a16="http://schemas.microsoft.com/office/drawing/2014/main" id="{E402FE4E-C12D-497C-AF81-F08E4E02B4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306513" y="0"/>
              <a:ext cx="3862388" cy="6843713"/>
            </a:xfrm>
            <a:custGeom>
              <a:avLst/>
              <a:gdLst>
                <a:gd name="T0" fmla="*/ 813 w 813"/>
                <a:gd name="T1" fmla="*/ 0 h 1440"/>
                <a:gd name="T2" fmla="*/ 435 w 813"/>
                <a:gd name="T3" fmla="*/ 1440 h 1440"/>
              </a:gdLst>
              <a:ahLst/>
              <a:cxnLst>
                <a:cxn ang="0">
                  <a:pos x="T0" y="T1"/>
                </a:cxn>
                <a:cxn ang="0">
                  <a:pos x="T2" y="T3"/>
                </a:cxn>
              </a:cxnLst>
              <a:rect l="0" t="0" r="r" b="b"/>
              <a:pathLst>
                <a:path w="813" h="1440">
                  <a:moveTo>
                    <a:pt x="813" y="0"/>
                  </a:moveTo>
                  <a:cubicBezTo>
                    <a:pt x="331" y="221"/>
                    <a:pt x="0" y="1039"/>
                    <a:pt x="43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59247B10-170D-4E62-849A-38FCB43C6A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26725" y="9525"/>
              <a:ext cx="1539875" cy="555625"/>
            </a:xfrm>
            <a:custGeom>
              <a:avLst/>
              <a:gdLst>
                <a:gd name="T0" fmla="*/ 324 w 324"/>
                <a:gd name="T1" fmla="*/ 117 h 117"/>
                <a:gd name="T2" fmla="*/ 0 w 324"/>
                <a:gd name="T3" fmla="*/ 0 h 117"/>
              </a:gdLst>
              <a:ahLst/>
              <a:cxnLst>
                <a:cxn ang="0">
                  <a:pos x="T0" y="T1"/>
                </a:cxn>
                <a:cxn ang="0">
                  <a:pos x="T2" y="T3"/>
                </a:cxn>
              </a:cxnLst>
              <a:rect l="0" t="0" r="r" b="b"/>
              <a:pathLst>
                <a:path w="324" h="117">
                  <a:moveTo>
                    <a:pt x="324" y="117"/>
                  </a:moveTo>
                  <a:cubicBezTo>
                    <a:pt x="223" y="64"/>
                    <a:pt x="107" y="28"/>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89A587A7-1BEF-45AA-9EFC-6558A8749C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247313" y="5013325"/>
              <a:ext cx="1919288" cy="1830388"/>
            </a:xfrm>
            <a:custGeom>
              <a:avLst/>
              <a:gdLst>
                <a:gd name="T0" fmla="*/ 0 w 404"/>
                <a:gd name="T1" fmla="*/ 385 h 385"/>
                <a:gd name="T2" fmla="*/ 404 w 404"/>
                <a:gd name="T3" fmla="*/ 0 h 385"/>
              </a:gdLst>
              <a:ahLst/>
              <a:cxnLst>
                <a:cxn ang="0">
                  <a:pos x="T0" y="T1"/>
                </a:cxn>
                <a:cxn ang="0">
                  <a:pos x="T2" y="T3"/>
                </a:cxn>
              </a:cxnLst>
              <a:rect l="0" t="0" r="r" b="b"/>
              <a:pathLst>
                <a:path w="404" h="385">
                  <a:moveTo>
                    <a:pt x="0" y="385"/>
                  </a:moveTo>
                  <a:cubicBezTo>
                    <a:pt x="146" y="272"/>
                    <a:pt x="285" y="142"/>
                    <a:pt x="404"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AC25B5A1-6EF7-44EC-A2F0-1EDC96A79B0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775" y="0"/>
              <a:ext cx="3676650" cy="6843713"/>
            </a:xfrm>
            <a:custGeom>
              <a:avLst/>
              <a:gdLst>
                <a:gd name="T0" fmla="*/ 774 w 774"/>
                <a:gd name="T1" fmla="*/ 0 h 1440"/>
                <a:gd name="T2" fmla="*/ 411 w 774"/>
                <a:gd name="T3" fmla="*/ 1440 h 1440"/>
              </a:gdLst>
              <a:ahLst/>
              <a:cxnLst>
                <a:cxn ang="0">
                  <a:pos x="T0" y="T1"/>
                </a:cxn>
                <a:cxn ang="0">
                  <a:pos x="T2" y="T3"/>
                </a:cxn>
              </a:cxnLst>
              <a:rect l="0" t="0" r="r" b="b"/>
              <a:pathLst>
                <a:path w="774" h="1440">
                  <a:moveTo>
                    <a:pt x="774" y="0"/>
                  </a:moveTo>
                  <a:cubicBezTo>
                    <a:pt x="312" y="240"/>
                    <a:pt x="0" y="1034"/>
                    <a:pt x="411" y="144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80B8582C-7E17-4115-9FF1-979C8405CB5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2988" y="9525"/>
              <a:ext cx="963613" cy="366713"/>
            </a:xfrm>
            <a:custGeom>
              <a:avLst/>
              <a:gdLst>
                <a:gd name="T0" fmla="*/ 203 w 203"/>
                <a:gd name="T1" fmla="*/ 77 h 77"/>
                <a:gd name="T2" fmla="*/ 0 w 203"/>
                <a:gd name="T3" fmla="*/ 0 h 77"/>
              </a:gdLst>
              <a:ahLst/>
              <a:cxnLst>
                <a:cxn ang="0">
                  <a:pos x="T0" y="T1"/>
                </a:cxn>
                <a:cxn ang="0">
                  <a:pos x="T2" y="T3"/>
                </a:cxn>
              </a:cxnLst>
              <a:rect l="0" t="0" r="r" b="b"/>
              <a:pathLst>
                <a:path w="203" h="77">
                  <a:moveTo>
                    <a:pt x="203" y="77"/>
                  </a:moveTo>
                  <a:cubicBezTo>
                    <a:pt x="138" y="46"/>
                    <a:pt x="68" y="21"/>
                    <a:pt x="0"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F6C4AB66-7A18-4E51-935B-237F4CA8272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494963" y="5275263"/>
              <a:ext cx="1666875" cy="1577975"/>
            </a:xfrm>
            <a:custGeom>
              <a:avLst/>
              <a:gdLst>
                <a:gd name="T0" fmla="*/ 0 w 351"/>
                <a:gd name="T1" fmla="*/ 332 h 332"/>
                <a:gd name="T2" fmla="*/ 351 w 351"/>
                <a:gd name="T3" fmla="*/ 0 h 332"/>
              </a:gdLst>
              <a:ahLst/>
              <a:cxnLst>
                <a:cxn ang="0">
                  <a:pos x="T0" y="T1"/>
                </a:cxn>
                <a:cxn ang="0">
                  <a:pos x="T2" y="T3"/>
                </a:cxn>
              </a:cxnLst>
              <a:rect l="0" t="0" r="r" b="b"/>
              <a:pathLst>
                <a:path w="351" h="332">
                  <a:moveTo>
                    <a:pt x="0" y="332"/>
                  </a:moveTo>
                  <a:cubicBezTo>
                    <a:pt x="125" y="232"/>
                    <a:pt x="245" y="121"/>
                    <a:pt x="351"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CDF12911-A240-4580-8788-0C49DB1FEDB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621088" cy="6843713"/>
            </a:xfrm>
            <a:custGeom>
              <a:avLst/>
              <a:gdLst>
                <a:gd name="T0" fmla="*/ 762 w 762"/>
                <a:gd name="T1" fmla="*/ 0 h 1440"/>
                <a:gd name="T2" fmla="*/ 403 w 762"/>
                <a:gd name="T3" fmla="*/ 1440 h 1440"/>
              </a:gdLst>
              <a:ahLst/>
              <a:cxnLst>
                <a:cxn ang="0">
                  <a:pos x="T0" y="T1"/>
                </a:cxn>
                <a:cxn ang="0">
                  <a:pos x="T2" y="T3"/>
                </a:cxn>
              </a:cxnLst>
              <a:rect l="0" t="0" r="r" b="b"/>
              <a:pathLst>
                <a:path w="762" h="1440">
                  <a:moveTo>
                    <a:pt x="762" y="0"/>
                  </a:moveTo>
                  <a:cubicBezTo>
                    <a:pt x="308" y="245"/>
                    <a:pt x="0" y="1033"/>
                    <a:pt x="403"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EAE0F5DE-442D-4F6C-B02C-2568ED19585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501438" y="9525"/>
              <a:ext cx="665163" cy="257175"/>
            </a:xfrm>
            <a:custGeom>
              <a:avLst/>
              <a:gdLst>
                <a:gd name="T0" fmla="*/ 140 w 140"/>
                <a:gd name="T1" fmla="*/ 54 h 54"/>
                <a:gd name="T2" fmla="*/ 0 w 140"/>
                <a:gd name="T3" fmla="*/ 0 h 54"/>
              </a:gdLst>
              <a:ahLst/>
              <a:cxnLst>
                <a:cxn ang="0">
                  <a:pos x="T0" y="T1"/>
                </a:cxn>
                <a:cxn ang="0">
                  <a:pos x="T2" y="T3"/>
                </a:cxn>
              </a:cxnLst>
              <a:rect l="0" t="0" r="r" b="b"/>
              <a:pathLst>
                <a:path w="140" h="54">
                  <a:moveTo>
                    <a:pt x="140" y="54"/>
                  </a:moveTo>
                  <a:cubicBezTo>
                    <a:pt x="95" y="34"/>
                    <a:pt x="48" y="16"/>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4F24A002-AFDE-4034-85BE-CBF005AE92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41013" y="5408613"/>
              <a:ext cx="1525588" cy="1435100"/>
            </a:xfrm>
            <a:custGeom>
              <a:avLst/>
              <a:gdLst>
                <a:gd name="T0" fmla="*/ 0 w 321"/>
                <a:gd name="T1" fmla="*/ 302 h 302"/>
                <a:gd name="T2" fmla="*/ 321 w 321"/>
                <a:gd name="T3" fmla="*/ 0 h 302"/>
              </a:gdLst>
              <a:ahLst/>
              <a:cxnLst>
                <a:cxn ang="0">
                  <a:pos x="T0" y="T1"/>
                </a:cxn>
                <a:cxn ang="0">
                  <a:pos x="T2" y="T3"/>
                </a:cxn>
              </a:cxnLst>
              <a:rect l="0" t="0" r="r" b="b"/>
              <a:pathLst>
                <a:path w="321" h="302">
                  <a:moveTo>
                    <a:pt x="0" y="302"/>
                  </a:moveTo>
                  <a:cubicBezTo>
                    <a:pt x="114" y="210"/>
                    <a:pt x="223" y="109"/>
                    <a:pt x="321"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36F0721E-B4B0-4A6C-A92C-F8DE92D3AC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244850" cy="6843713"/>
            </a:xfrm>
            <a:custGeom>
              <a:avLst/>
              <a:gdLst>
                <a:gd name="T0" fmla="*/ 683 w 683"/>
                <a:gd name="T1" fmla="*/ 0 h 1440"/>
                <a:gd name="T2" fmla="*/ 355 w 683"/>
                <a:gd name="T3" fmla="*/ 1440 h 1440"/>
              </a:gdLst>
              <a:ahLst/>
              <a:cxnLst>
                <a:cxn ang="0">
                  <a:pos x="T0" y="T1"/>
                </a:cxn>
                <a:cxn ang="0">
                  <a:pos x="T2" y="T3"/>
                </a:cxn>
              </a:cxnLst>
              <a:rect l="0" t="0" r="r" b="b"/>
              <a:pathLst>
                <a:path w="683" h="1440">
                  <a:moveTo>
                    <a:pt x="683" y="0"/>
                  </a:moveTo>
                  <a:cubicBezTo>
                    <a:pt x="258" y="256"/>
                    <a:pt x="0" y="1041"/>
                    <a:pt x="35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54D2DC98-69F8-4F2F-9D45-BDFFA5E2BB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802938" y="5518150"/>
              <a:ext cx="1363663" cy="1325563"/>
            </a:xfrm>
            <a:custGeom>
              <a:avLst/>
              <a:gdLst>
                <a:gd name="T0" fmla="*/ 0 w 287"/>
                <a:gd name="T1" fmla="*/ 279 h 279"/>
                <a:gd name="T2" fmla="*/ 287 w 287"/>
                <a:gd name="T3" fmla="*/ 0 h 279"/>
              </a:gdLst>
              <a:ahLst/>
              <a:cxnLst>
                <a:cxn ang="0">
                  <a:pos x="T0" y="T1"/>
                </a:cxn>
                <a:cxn ang="0">
                  <a:pos x="T2" y="T3"/>
                </a:cxn>
              </a:cxnLst>
              <a:rect l="0" t="0" r="r" b="b"/>
              <a:pathLst>
                <a:path w="287" h="279">
                  <a:moveTo>
                    <a:pt x="0" y="279"/>
                  </a:moveTo>
                  <a:cubicBezTo>
                    <a:pt x="101" y="193"/>
                    <a:pt x="198" y="100"/>
                    <a:pt x="287"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0A636E33-DC38-40B9-B941-037E5D8603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89000" y="0"/>
              <a:ext cx="3230563" cy="6843713"/>
            </a:xfrm>
            <a:custGeom>
              <a:avLst/>
              <a:gdLst>
                <a:gd name="T0" fmla="*/ 680 w 680"/>
                <a:gd name="T1" fmla="*/ 0 h 1440"/>
                <a:gd name="T2" fmla="*/ 337 w 680"/>
                <a:gd name="T3" fmla="*/ 1440 h 1440"/>
              </a:gdLst>
              <a:ahLst/>
              <a:cxnLst>
                <a:cxn ang="0">
                  <a:pos x="T0" y="T1"/>
                </a:cxn>
                <a:cxn ang="0">
                  <a:pos x="T2" y="T3"/>
                </a:cxn>
              </a:cxnLst>
              <a:rect l="0" t="0" r="r" b="b"/>
              <a:pathLst>
                <a:path w="680" h="1440">
                  <a:moveTo>
                    <a:pt x="680" y="0"/>
                  </a:moveTo>
                  <a:cubicBezTo>
                    <a:pt x="257" y="265"/>
                    <a:pt x="0" y="1026"/>
                    <a:pt x="337"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03D30690-68C2-4AEC-9789-1495D97E194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79150" y="5694363"/>
              <a:ext cx="1187450" cy="1149350"/>
            </a:xfrm>
            <a:custGeom>
              <a:avLst/>
              <a:gdLst>
                <a:gd name="T0" fmla="*/ 0 w 250"/>
                <a:gd name="T1" fmla="*/ 242 h 242"/>
                <a:gd name="T2" fmla="*/ 250 w 250"/>
                <a:gd name="T3" fmla="*/ 0 h 242"/>
              </a:gdLst>
              <a:ahLst/>
              <a:cxnLst>
                <a:cxn ang="0">
                  <a:pos x="T0" y="T1"/>
                </a:cxn>
                <a:cxn ang="0">
                  <a:pos x="T2" y="T3"/>
                </a:cxn>
              </a:cxnLst>
              <a:rect l="0" t="0" r="r" b="b"/>
              <a:pathLst>
                <a:path w="250" h="242">
                  <a:moveTo>
                    <a:pt x="0" y="242"/>
                  </a:moveTo>
                  <a:cubicBezTo>
                    <a:pt x="88" y="166"/>
                    <a:pt x="172" y="85"/>
                    <a:pt x="25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1020B1B9-821B-49FB-BDC9-57DA08CBC3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84188" y="0"/>
              <a:ext cx="3421063" cy="6843713"/>
            </a:xfrm>
            <a:custGeom>
              <a:avLst/>
              <a:gdLst>
                <a:gd name="T0" fmla="*/ 720 w 720"/>
                <a:gd name="T1" fmla="*/ 0 h 1440"/>
                <a:gd name="T2" fmla="*/ 362 w 720"/>
                <a:gd name="T3" fmla="*/ 1440 h 1440"/>
              </a:gdLst>
              <a:ahLst/>
              <a:cxnLst>
                <a:cxn ang="0">
                  <a:pos x="T0" y="T1"/>
                </a:cxn>
                <a:cxn ang="0">
                  <a:pos x="T2" y="T3"/>
                </a:cxn>
              </a:cxnLst>
              <a:rect l="0" t="0" r="r" b="b"/>
              <a:pathLst>
                <a:path w="720" h="1440">
                  <a:moveTo>
                    <a:pt x="720" y="0"/>
                  </a:moveTo>
                  <a:cubicBezTo>
                    <a:pt x="316" y="282"/>
                    <a:pt x="0" y="1018"/>
                    <a:pt x="362"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720EDCE4-8B18-413F-989E-E79628E5AF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87125" y="6049963"/>
              <a:ext cx="879475" cy="793750"/>
            </a:xfrm>
            <a:custGeom>
              <a:avLst/>
              <a:gdLst>
                <a:gd name="T0" fmla="*/ 0 w 185"/>
                <a:gd name="T1" fmla="*/ 167 h 167"/>
                <a:gd name="T2" fmla="*/ 185 w 185"/>
                <a:gd name="T3" fmla="*/ 0 h 167"/>
              </a:gdLst>
              <a:ahLst/>
              <a:cxnLst>
                <a:cxn ang="0">
                  <a:pos x="T0" y="T1"/>
                </a:cxn>
                <a:cxn ang="0">
                  <a:pos x="T2" y="T3"/>
                </a:cxn>
              </a:cxnLst>
              <a:rect l="0" t="0" r="r" b="b"/>
              <a:pathLst>
                <a:path w="185" h="167">
                  <a:moveTo>
                    <a:pt x="0" y="167"/>
                  </a:moveTo>
                  <a:cubicBezTo>
                    <a:pt x="63" y="114"/>
                    <a:pt x="125" y="58"/>
                    <a:pt x="185"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8563351E-0DDD-4FC8-8D0C-1E446E3C1B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8488" y="0"/>
              <a:ext cx="2717800" cy="6843713"/>
            </a:xfrm>
            <a:custGeom>
              <a:avLst/>
              <a:gdLst>
                <a:gd name="T0" fmla="*/ 572 w 572"/>
                <a:gd name="T1" fmla="*/ 0 h 1440"/>
                <a:gd name="T2" fmla="*/ 164 w 572"/>
                <a:gd name="T3" fmla="*/ 1440 h 1440"/>
              </a:gdLst>
              <a:ahLst/>
              <a:cxnLst>
                <a:cxn ang="0">
                  <a:pos x="T0" y="T1"/>
                </a:cxn>
                <a:cxn ang="0">
                  <a:pos x="T2" y="T3"/>
                </a:cxn>
              </a:cxnLst>
              <a:rect l="0" t="0" r="r" b="b"/>
              <a:pathLst>
                <a:path w="572" h="1440">
                  <a:moveTo>
                    <a:pt x="572" y="0"/>
                  </a:moveTo>
                  <a:cubicBezTo>
                    <a:pt x="213" y="320"/>
                    <a:pt x="0" y="979"/>
                    <a:pt x="164" y="1440"/>
                  </a:cubicBezTo>
                </a:path>
              </a:pathLst>
            </a:custGeom>
            <a:noFill/>
            <a:ln w="12700" cap="flat">
              <a:solidFill>
                <a:schemeClr val="tx1">
                  <a:alpha val="15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15E8B705-64E7-4513-B3CB-BF46C35732B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61938" y="0"/>
              <a:ext cx="2944813" cy="6843713"/>
            </a:xfrm>
            <a:custGeom>
              <a:avLst/>
              <a:gdLst>
                <a:gd name="T0" fmla="*/ 620 w 620"/>
                <a:gd name="T1" fmla="*/ 0 h 1440"/>
                <a:gd name="T2" fmla="*/ 186 w 620"/>
                <a:gd name="T3" fmla="*/ 1440 h 1440"/>
              </a:gdLst>
              <a:ahLst/>
              <a:cxnLst>
                <a:cxn ang="0">
                  <a:pos x="T0" y="T1"/>
                </a:cxn>
                <a:cxn ang="0">
                  <a:pos x="T2" y="T3"/>
                </a:cxn>
              </a:cxnLst>
              <a:rect l="0" t="0" r="r" b="b"/>
              <a:pathLst>
                <a:path w="620" h="1440">
                  <a:moveTo>
                    <a:pt x="620" y="0"/>
                  </a:moveTo>
                  <a:cubicBezTo>
                    <a:pt x="248" y="325"/>
                    <a:pt x="0" y="960"/>
                    <a:pt x="186" y="1440"/>
                  </a:cubicBezTo>
                </a:path>
              </a:pathLst>
            </a:custGeom>
            <a:noFill/>
            <a:ln w="9525" cap="flat">
              <a:solidFill>
                <a:schemeClr val="tx1">
                  <a:alpha val="15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30DAEE1C-EBB5-47F5-9E76-564FCFDBFC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17513" y="0"/>
              <a:ext cx="2403475" cy="6843713"/>
            </a:xfrm>
            <a:custGeom>
              <a:avLst/>
              <a:gdLst>
                <a:gd name="T0" fmla="*/ 506 w 506"/>
                <a:gd name="T1" fmla="*/ 0 h 1440"/>
                <a:gd name="T2" fmla="*/ 171 w 506"/>
                <a:gd name="T3" fmla="*/ 1440 h 1440"/>
              </a:gdLst>
              <a:ahLst/>
              <a:cxnLst>
                <a:cxn ang="0">
                  <a:pos x="T0" y="T1"/>
                </a:cxn>
                <a:cxn ang="0">
                  <a:pos x="T2" y="T3"/>
                </a:cxn>
              </a:cxnLst>
              <a:rect l="0" t="0" r="r" b="b"/>
              <a:pathLst>
                <a:path w="506" h="1440">
                  <a:moveTo>
                    <a:pt x="506" y="0"/>
                  </a:moveTo>
                  <a:cubicBezTo>
                    <a:pt x="109" y="356"/>
                    <a:pt x="0" y="943"/>
                    <a:pt x="171"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EDB255E9-A3E2-4098-99A1-FE38FAD15D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9525"/>
              <a:ext cx="1771650" cy="3198813"/>
            </a:xfrm>
            <a:custGeom>
              <a:avLst/>
              <a:gdLst>
                <a:gd name="T0" fmla="*/ 373 w 373"/>
                <a:gd name="T1" fmla="*/ 0 h 673"/>
                <a:gd name="T2" fmla="*/ 0 w 373"/>
                <a:gd name="T3" fmla="*/ 673 h 673"/>
              </a:gdLst>
              <a:ahLst/>
              <a:cxnLst>
                <a:cxn ang="0">
                  <a:pos x="T0" y="T1"/>
                </a:cxn>
                <a:cxn ang="0">
                  <a:pos x="T2" y="T3"/>
                </a:cxn>
              </a:cxnLst>
              <a:rect l="0" t="0" r="r" b="b"/>
              <a:pathLst>
                <a:path w="373" h="673">
                  <a:moveTo>
                    <a:pt x="373" y="0"/>
                  </a:moveTo>
                  <a:cubicBezTo>
                    <a:pt x="175" y="183"/>
                    <a:pt x="51" y="409"/>
                    <a:pt x="0" y="673"/>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D2507F2A-27AF-4833-8273-5FC9A98863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763" y="6016625"/>
              <a:ext cx="214313" cy="827088"/>
            </a:xfrm>
            <a:custGeom>
              <a:avLst/>
              <a:gdLst>
                <a:gd name="T0" fmla="*/ 0 w 45"/>
                <a:gd name="T1" fmla="*/ 0 h 174"/>
                <a:gd name="T2" fmla="*/ 45 w 45"/>
                <a:gd name="T3" fmla="*/ 174 h 174"/>
              </a:gdLst>
              <a:ahLst/>
              <a:cxnLst>
                <a:cxn ang="0">
                  <a:pos x="T0" y="T1"/>
                </a:cxn>
                <a:cxn ang="0">
                  <a:pos x="T2" y="T3"/>
                </a:cxn>
              </a:cxnLst>
              <a:rect l="0" t="0" r="r" b="b"/>
              <a:pathLst>
                <a:path w="45" h="174">
                  <a:moveTo>
                    <a:pt x="0" y="0"/>
                  </a:moveTo>
                  <a:cubicBezTo>
                    <a:pt x="11" y="59"/>
                    <a:pt x="26" y="118"/>
                    <a:pt x="45" y="174"/>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8DFB8904-0CB8-45AD-ABD2-F7A582365E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0"/>
              <a:ext cx="1562100" cy="2228850"/>
            </a:xfrm>
            <a:custGeom>
              <a:avLst/>
              <a:gdLst>
                <a:gd name="T0" fmla="*/ 329 w 329"/>
                <a:gd name="T1" fmla="*/ 0 h 469"/>
                <a:gd name="T2" fmla="*/ 0 w 329"/>
                <a:gd name="T3" fmla="*/ 469 h 469"/>
              </a:gdLst>
              <a:ahLst/>
              <a:cxnLst>
                <a:cxn ang="0">
                  <a:pos x="T0" y="T1"/>
                </a:cxn>
                <a:cxn ang="0">
                  <a:pos x="T2" y="T3"/>
                </a:cxn>
              </a:cxnLst>
              <a:rect l="0" t="0" r="r" b="b"/>
              <a:pathLst>
                <a:path w="329" h="469">
                  <a:moveTo>
                    <a:pt x="329" y="0"/>
                  </a:moveTo>
                  <a:cubicBezTo>
                    <a:pt x="189" y="133"/>
                    <a:pt x="69" y="288"/>
                    <a:pt x="0" y="469"/>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pic>
        <p:nvPicPr>
          <p:cNvPr id="43" name="Espace réservé du contenu 42">
            <a:extLst>
              <a:ext uri="{FF2B5EF4-FFF2-40B4-BE49-F238E27FC236}">
                <a16:creationId xmlns:a16="http://schemas.microsoft.com/office/drawing/2014/main" id="{75F83CB2-3FD3-4998-913A-993E154A6722}"/>
              </a:ext>
            </a:extLst>
          </p:cNvPr>
          <p:cNvPicPr>
            <a:picLocks noGrp="1" noChangeAspect="1"/>
          </p:cNvPicPr>
          <p:nvPr>
            <p:ph idx="1"/>
          </p:nvPr>
        </p:nvPicPr>
        <p:blipFill>
          <a:blip r:embed="rId3"/>
          <a:stretch>
            <a:fillRect/>
          </a:stretch>
        </p:blipFill>
        <p:spPr>
          <a:xfrm>
            <a:off x="316056" y="833906"/>
            <a:ext cx="11012344" cy="4763151"/>
          </a:xfrm>
        </p:spPr>
      </p:pic>
    </p:spTree>
    <p:extLst>
      <p:ext uri="{BB962C8B-B14F-4D97-AF65-F5344CB8AC3E}">
        <p14:creationId xmlns:p14="http://schemas.microsoft.com/office/powerpoint/2010/main" val="27626103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4" name="Rectangle 83">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542707" y="334971"/>
            <a:ext cx="5807759" cy="1947239"/>
          </a:xfrm>
          <a:prstGeom prst="ellipse">
            <a:avLst/>
          </a:prstGeom>
        </p:spPr>
        <p:txBody>
          <a:bodyPr vert="horz" lIns="91440" tIns="45720" rIns="91440" bIns="45720" rtlCol="0" anchor="b">
            <a:normAutofit fontScale="90000"/>
          </a:bodyPr>
          <a:lstStyle/>
          <a:p>
            <a:br>
              <a:rPr lang="en-US" sz="4800" dirty="0"/>
            </a:br>
            <a:r>
              <a:rPr lang="en-US" dirty="0"/>
              <a:t>Ordonnance de 1945</a:t>
            </a:r>
            <a:br>
              <a:rPr lang="en-US" sz="4600" dirty="0"/>
            </a:br>
            <a:endParaRPr lang="en-US" sz="4600" dirty="0"/>
          </a:p>
        </p:txBody>
      </p:sp>
      <p:sp>
        <p:nvSpPr>
          <p:cNvPr id="86"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ZoneTexte 4">
            <a:extLst>
              <a:ext uri="{FF2B5EF4-FFF2-40B4-BE49-F238E27FC236}">
                <a16:creationId xmlns:a16="http://schemas.microsoft.com/office/drawing/2014/main" id="{DFEA2082-E7DE-4453-8158-54F380B94285}"/>
              </a:ext>
            </a:extLst>
          </p:cNvPr>
          <p:cNvSpPr txBox="1"/>
          <p:nvPr/>
        </p:nvSpPr>
        <p:spPr>
          <a:xfrm>
            <a:off x="640080" y="2872899"/>
            <a:ext cx="4243589" cy="332066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en-US" sz="2200" dirty="0"/>
          </a:p>
          <a:p>
            <a:pPr indent="-228600">
              <a:lnSpc>
                <a:spcPct val="90000"/>
              </a:lnSpc>
              <a:spcAft>
                <a:spcPts val="600"/>
              </a:spcAft>
              <a:buFont typeface="Arial" panose="020B0604020202020204" pitchFamily="34" charset="0"/>
              <a:buChar char="•"/>
            </a:pPr>
            <a:r>
              <a:rPr lang="en-US" sz="2200" dirty="0">
                <a:highlight>
                  <a:srgbClr val="FFFF00"/>
                </a:highlight>
              </a:rPr>
              <a:t>Art 2 : principal</a:t>
            </a:r>
          </a:p>
          <a:p>
            <a:pPr indent="-228600">
              <a:lnSpc>
                <a:spcPct val="90000"/>
              </a:lnSpc>
              <a:spcAft>
                <a:spcPts val="600"/>
              </a:spcAft>
              <a:buFont typeface="Arial" panose="020B0604020202020204" pitchFamily="34" charset="0"/>
              <a:buChar char="•"/>
            </a:pPr>
            <a:endParaRPr lang="en-US" sz="2200" dirty="0"/>
          </a:p>
          <a:p>
            <a:pPr indent="-228600">
              <a:lnSpc>
                <a:spcPct val="90000"/>
              </a:lnSpc>
              <a:spcAft>
                <a:spcPts val="600"/>
              </a:spcAft>
              <a:buFont typeface="Arial" panose="020B0604020202020204" pitchFamily="34" charset="0"/>
              <a:buChar char="•"/>
            </a:pPr>
            <a:r>
              <a:rPr lang="en-US" sz="2200" dirty="0"/>
              <a:t>Art 22 : </a:t>
            </a:r>
            <a:r>
              <a:rPr lang="en-US" sz="2200" dirty="0" err="1"/>
              <a:t>accessoire</a:t>
            </a:r>
            <a:endParaRPr lang="en-US" sz="2200" dirty="0"/>
          </a:p>
          <a:p>
            <a:pPr indent="-228600">
              <a:lnSpc>
                <a:spcPct val="90000"/>
              </a:lnSpc>
              <a:spcAft>
                <a:spcPts val="600"/>
              </a:spcAft>
              <a:buFont typeface="Arial" panose="020B0604020202020204" pitchFamily="34" charset="0"/>
              <a:buChar char="•"/>
            </a:pPr>
            <a:endParaRPr lang="en-US" sz="2200" dirty="0"/>
          </a:p>
          <a:p>
            <a:pPr indent="-228600">
              <a:lnSpc>
                <a:spcPct val="90000"/>
              </a:lnSpc>
              <a:spcAft>
                <a:spcPts val="600"/>
              </a:spcAft>
              <a:buFont typeface="Arial" panose="020B0604020202020204" pitchFamily="34" charset="0"/>
              <a:buChar char="•"/>
            </a:pPr>
            <a:endParaRPr lang="en-US" sz="2200" dirty="0"/>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10828" r="22745"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704673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4842FF-7B87-4819-9D9E-8FAB225F796F}"/>
              </a:ext>
            </a:extLst>
          </p:cNvPr>
          <p:cNvSpPr>
            <a:spLocks noGrp="1"/>
          </p:cNvSpPr>
          <p:nvPr>
            <p:ph type="title"/>
          </p:nvPr>
        </p:nvSpPr>
        <p:spPr>
          <a:xfrm>
            <a:off x="302004" y="138525"/>
            <a:ext cx="10861907" cy="830403"/>
          </a:xfrm>
        </p:spPr>
        <p:txBody>
          <a:bodyPr/>
          <a:lstStyle/>
          <a:p>
            <a:r>
              <a:rPr lang="fr-FR" dirty="0"/>
              <a:t>Art 2 - </a:t>
            </a:r>
            <a:r>
              <a:rPr lang="fr-FR" sz="2400" b="1" u="sng" dirty="0">
                <a:latin typeface="sourcesanspro"/>
                <a:hlinkClick r:id="rId3">
                  <a:extLst>
                    <a:ext uri="{A12FA001-AC4F-418D-AE19-62706E023703}">
                      <ahyp:hlinkClr xmlns:ahyp="http://schemas.microsoft.com/office/drawing/2018/hyperlinkcolor" val="tx"/>
                    </a:ext>
                  </a:extLst>
                </a:hlinkClick>
              </a:rPr>
              <a:t>Modifié par Ordonnance n°2016-394 du 31 mars 2016 - art. 8</a:t>
            </a:r>
            <a:endParaRPr lang="fr-FR" sz="2400" dirty="0"/>
          </a:p>
        </p:txBody>
      </p:sp>
      <p:sp>
        <p:nvSpPr>
          <p:cNvPr id="3" name="Espace réservé du contenu 2">
            <a:extLst>
              <a:ext uri="{FF2B5EF4-FFF2-40B4-BE49-F238E27FC236}">
                <a16:creationId xmlns:a16="http://schemas.microsoft.com/office/drawing/2014/main" id="{AE031ED6-BBEB-4F69-BB03-35ED79344BB4}"/>
              </a:ext>
            </a:extLst>
          </p:cNvPr>
          <p:cNvSpPr>
            <a:spLocks noGrp="1"/>
          </p:cNvSpPr>
          <p:nvPr>
            <p:ph idx="1"/>
          </p:nvPr>
        </p:nvSpPr>
        <p:spPr>
          <a:xfrm>
            <a:off x="167781" y="1962811"/>
            <a:ext cx="11425805" cy="4035318"/>
          </a:xfrm>
        </p:spPr>
        <p:txBody>
          <a:bodyPr>
            <a:normAutofit/>
          </a:bodyPr>
          <a:lstStyle/>
          <a:p>
            <a:pPr algn="l"/>
            <a:r>
              <a:rPr lang="fr-FR" b="0" i="0" dirty="0">
                <a:solidFill>
                  <a:srgbClr val="3C3C3C"/>
                </a:solidFill>
                <a:effectLst/>
                <a:latin typeface="sourcesanspro"/>
              </a:rPr>
              <a:t>Est expert comptable ou réviseur comptable au sens de la présente ordonnance celui qui fait profession habituelle de réviser et d'apprécier les comptabilités des entreprises et organismes auxquels il n'est pas lié par un contrat de travail. Il est également habilité à attester la régularité et la sincérité des comptes de résultats.</a:t>
            </a:r>
          </a:p>
          <a:p>
            <a:pPr algn="l"/>
            <a:r>
              <a:rPr lang="fr-FR" b="0" i="0" dirty="0">
                <a:solidFill>
                  <a:srgbClr val="3C3C3C"/>
                </a:solidFill>
                <a:effectLst/>
                <a:latin typeface="sourcesanspro"/>
              </a:rPr>
              <a:t>L'expert-comptable fait aussi profession de tenir, centraliser, ouvrir, arrêter, surveiller, redresser et consolider les comptabilités des entreprises et organismes auxquels il n'est pas lié par un contrat de travail.</a:t>
            </a:r>
          </a:p>
          <a:p>
            <a:pPr algn="l"/>
            <a:r>
              <a:rPr lang="fr-FR" b="0" i="0" dirty="0">
                <a:solidFill>
                  <a:srgbClr val="3C3C3C"/>
                </a:solidFill>
                <a:effectLst/>
                <a:latin typeface="sourcesanspro"/>
              </a:rPr>
              <a:t>L'expert comptable peut aussi organiser les comptabilités et analyser par les procédés de la technique comptable la situation et le fonctionnement des entreprises et organismes sous leurs différents aspects économique, juridique et financier.</a:t>
            </a:r>
          </a:p>
          <a:p>
            <a:pPr marL="0" indent="0">
              <a:buNone/>
            </a:pPr>
            <a:endParaRPr lang="fr-F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8315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4842FF-7B87-4819-9D9E-8FAB225F796F}"/>
              </a:ext>
            </a:extLst>
          </p:cNvPr>
          <p:cNvSpPr>
            <a:spLocks noGrp="1"/>
          </p:cNvSpPr>
          <p:nvPr>
            <p:ph type="title"/>
          </p:nvPr>
        </p:nvSpPr>
        <p:spPr>
          <a:xfrm>
            <a:off x="302004" y="138525"/>
            <a:ext cx="10861907" cy="830403"/>
          </a:xfrm>
        </p:spPr>
        <p:txBody>
          <a:bodyPr>
            <a:normAutofit/>
          </a:bodyPr>
          <a:lstStyle/>
          <a:p>
            <a:r>
              <a:rPr lang="fr-FR" dirty="0"/>
              <a:t>Art 2 - SUITE</a:t>
            </a:r>
            <a:endParaRPr lang="fr-FR" sz="2400" dirty="0"/>
          </a:p>
        </p:txBody>
      </p:sp>
      <p:sp>
        <p:nvSpPr>
          <p:cNvPr id="3" name="Espace réservé du contenu 2">
            <a:extLst>
              <a:ext uri="{FF2B5EF4-FFF2-40B4-BE49-F238E27FC236}">
                <a16:creationId xmlns:a16="http://schemas.microsoft.com/office/drawing/2014/main" id="{AE031ED6-BBEB-4F69-BB03-35ED79344BB4}"/>
              </a:ext>
            </a:extLst>
          </p:cNvPr>
          <p:cNvSpPr>
            <a:spLocks noGrp="1"/>
          </p:cNvSpPr>
          <p:nvPr>
            <p:ph idx="1"/>
          </p:nvPr>
        </p:nvSpPr>
        <p:spPr>
          <a:xfrm>
            <a:off x="167781" y="1962811"/>
            <a:ext cx="11425805" cy="4035318"/>
          </a:xfrm>
        </p:spPr>
        <p:txBody>
          <a:bodyPr>
            <a:normAutofit/>
          </a:bodyPr>
          <a:lstStyle/>
          <a:p>
            <a:pPr algn="l"/>
            <a:r>
              <a:rPr lang="fr-FR" b="0" i="0" dirty="0">
                <a:solidFill>
                  <a:srgbClr val="3C3C3C"/>
                </a:solidFill>
                <a:effectLst/>
                <a:latin typeface="sourcesanspro"/>
              </a:rPr>
              <a:t>Il fait rapport de ses constatations, conclusions et suggestions.</a:t>
            </a:r>
          </a:p>
          <a:p>
            <a:pPr algn="l"/>
            <a:r>
              <a:rPr lang="fr-FR" b="0" i="0" dirty="0">
                <a:solidFill>
                  <a:srgbClr val="3C3C3C"/>
                </a:solidFill>
                <a:effectLst/>
                <a:latin typeface="sourcesanspro"/>
              </a:rPr>
              <a:t>L'expert-comptable peut aussi accompagner la création d'entreprise sous tous ses aspects comptables ou à finalité économique et financière.</a:t>
            </a:r>
          </a:p>
          <a:p>
            <a:pPr algn="l"/>
            <a:r>
              <a:rPr lang="fr-FR" b="0" i="0" dirty="0">
                <a:solidFill>
                  <a:srgbClr val="3C3C3C"/>
                </a:solidFill>
                <a:effectLst/>
                <a:latin typeface="sourcesanspro"/>
              </a:rPr>
              <a:t>Les membres de l'ordre, les sociétés </a:t>
            </a:r>
            <a:r>
              <a:rPr lang="fr-FR" b="0" i="0" dirty="0" err="1">
                <a:solidFill>
                  <a:srgbClr val="3C3C3C"/>
                </a:solidFill>
                <a:effectLst/>
                <a:latin typeface="sourcesanspro"/>
              </a:rPr>
              <a:t>pluri-professionnelles</a:t>
            </a:r>
            <a:r>
              <a:rPr lang="fr-FR" b="0" i="0" dirty="0">
                <a:solidFill>
                  <a:srgbClr val="3C3C3C"/>
                </a:solidFill>
                <a:effectLst/>
                <a:latin typeface="sourcesanspro"/>
              </a:rPr>
              <a:t> d'exercice, les succursales et les associations de gestion et de comptabilité peuvent assister, dans leurs démarches déclaratives à finalité fiscale, sociale et administrative, les personnes physiques qui leur ont confié les éléments justificatifs et comptables nécessaires auxdites démarches.</a:t>
            </a:r>
          </a:p>
          <a:p>
            <a:pPr marL="0" indent="0">
              <a:buNone/>
            </a:pPr>
            <a:endParaRPr lang="fr-F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58655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4" name="Rectangle 83">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542707" y="334971"/>
            <a:ext cx="5807759" cy="1947239"/>
          </a:xfrm>
          <a:prstGeom prst="ellipse">
            <a:avLst/>
          </a:prstGeom>
        </p:spPr>
        <p:txBody>
          <a:bodyPr vert="horz" lIns="91440" tIns="45720" rIns="91440" bIns="45720" rtlCol="0" anchor="b">
            <a:normAutofit fontScale="90000"/>
          </a:bodyPr>
          <a:lstStyle/>
          <a:p>
            <a:br>
              <a:rPr lang="en-US" sz="4800" dirty="0"/>
            </a:br>
            <a:r>
              <a:rPr lang="en-US" dirty="0"/>
              <a:t>Ordonnance de 1945</a:t>
            </a:r>
            <a:br>
              <a:rPr lang="en-US" sz="4600" dirty="0"/>
            </a:br>
            <a:endParaRPr lang="en-US" sz="4600" dirty="0"/>
          </a:p>
        </p:txBody>
      </p:sp>
      <p:sp>
        <p:nvSpPr>
          <p:cNvPr id="86"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ZoneTexte 4">
            <a:extLst>
              <a:ext uri="{FF2B5EF4-FFF2-40B4-BE49-F238E27FC236}">
                <a16:creationId xmlns:a16="http://schemas.microsoft.com/office/drawing/2014/main" id="{DFEA2082-E7DE-4453-8158-54F380B94285}"/>
              </a:ext>
            </a:extLst>
          </p:cNvPr>
          <p:cNvSpPr txBox="1"/>
          <p:nvPr/>
        </p:nvSpPr>
        <p:spPr>
          <a:xfrm>
            <a:off x="640080" y="2872899"/>
            <a:ext cx="4243589" cy="332066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en-US" sz="2200" dirty="0"/>
          </a:p>
          <a:p>
            <a:pPr indent="-228600">
              <a:lnSpc>
                <a:spcPct val="90000"/>
              </a:lnSpc>
              <a:spcAft>
                <a:spcPts val="600"/>
              </a:spcAft>
              <a:buFont typeface="Arial" panose="020B0604020202020204" pitchFamily="34" charset="0"/>
              <a:buChar char="•"/>
            </a:pPr>
            <a:r>
              <a:rPr lang="en-US" sz="2200" dirty="0"/>
              <a:t>Art 2</a:t>
            </a:r>
          </a:p>
          <a:p>
            <a:pPr indent="-228600">
              <a:lnSpc>
                <a:spcPct val="90000"/>
              </a:lnSpc>
              <a:spcAft>
                <a:spcPts val="600"/>
              </a:spcAft>
              <a:buFont typeface="Arial" panose="020B0604020202020204" pitchFamily="34" charset="0"/>
              <a:buChar char="•"/>
            </a:pPr>
            <a:endParaRPr lang="en-US" sz="2200" dirty="0"/>
          </a:p>
          <a:p>
            <a:pPr indent="-228600">
              <a:lnSpc>
                <a:spcPct val="90000"/>
              </a:lnSpc>
              <a:spcAft>
                <a:spcPts val="600"/>
              </a:spcAft>
              <a:buFont typeface="Arial" panose="020B0604020202020204" pitchFamily="34" charset="0"/>
              <a:buChar char="•"/>
            </a:pPr>
            <a:r>
              <a:rPr lang="en-US" sz="2200" dirty="0">
                <a:highlight>
                  <a:srgbClr val="FFFF00"/>
                </a:highlight>
              </a:rPr>
              <a:t>Art 22</a:t>
            </a:r>
          </a:p>
          <a:p>
            <a:pPr indent="-228600">
              <a:lnSpc>
                <a:spcPct val="90000"/>
              </a:lnSpc>
              <a:spcAft>
                <a:spcPts val="600"/>
              </a:spcAft>
              <a:buFont typeface="Arial" panose="020B0604020202020204" pitchFamily="34" charset="0"/>
              <a:buChar char="•"/>
            </a:pPr>
            <a:endParaRPr lang="en-US" sz="2200" dirty="0"/>
          </a:p>
          <a:p>
            <a:pPr indent="-228600">
              <a:lnSpc>
                <a:spcPct val="90000"/>
              </a:lnSpc>
              <a:spcAft>
                <a:spcPts val="600"/>
              </a:spcAft>
              <a:buFont typeface="Arial" panose="020B0604020202020204" pitchFamily="34" charset="0"/>
              <a:buChar char="•"/>
            </a:pPr>
            <a:endParaRPr lang="en-US" sz="2200" dirty="0"/>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10828" r="22745"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9459951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4842FF-7B87-4819-9D9E-8FAB225F796F}"/>
              </a:ext>
            </a:extLst>
          </p:cNvPr>
          <p:cNvSpPr>
            <a:spLocks noGrp="1"/>
          </p:cNvSpPr>
          <p:nvPr>
            <p:ph type="title"/>
          </p:nvPr>
        </p:nvSpPr>
        <p:spPr>
          <a:xfrm>
            <a:off x="302004" y="138525"/>
            <a:ext cx="10861907" cy="830403"/>
          </a:xfrm>
        </p:spPr>
        <p:txBody>
          <a:bodyPr/>
          <a:lstStyle/>
          <a:p>
            <a:r>
              <a:rPr lang="fr-FR" dirty="0"/>
              <a:t>Art 22 -</a:t>
            </a:r>
            <a:endParaRPr lang="fr-FR" sz="2400" dirty="0"/>
          </a:p>
        </p:txBody>
      </p:sp>
      <p:sp>
        <p:nvSpPr>
          <p:cNvPr id="3" name="Espace réservé du contenu 2">
            <a:extLst>
              <a:ext uri="{FF2B5EF4-FFF2-40B4-BE49-F238E27FC236}">
                <a16:creationId xmlns:a16="http://schemas.microsoft.com/office/drawing/2014/main" id="{AE031ED6-BBEB-4F69-BB03-35ED79344BB4}"/>
              </a:ext>
            </a:extLst>
          </p:cNvPr>
          <p:cNvSpPr>
            <a:spLocks noGrp="1"/>
          </p:cNvSpPr>
          <p:nvPr>
            <p:ph idx="1"/>
          </p:nvPr>
        </p:nvSpPr>
        <p:spPr>
          <a:xfrm>
            <a:off x="167781" y="1962811"/>
            <a:ext cx="11425805" cy="4127596"/>
          </a:xfrm>
        </p:spPr>
        <p:txBody>
          <a:bodyPr>
            <a:normAutofit/>
          </a:bodyPr>
          <a:lstStyle/>
          <a:p>
            <a:pPr algn="l"/>
            <a:r>
              <a:rPr lang="fr-FR" b="0" i="0" dirty="0">
                <a:solidFill>
                  <a:srgbClr val="3C3C3C"/>
                </a:solidFill>
                <a:effectLst/>
                <a:latin typeface="sourcesanspro"/>
              </a:rPr>
              <a:t>L'activité d'expertise comptable est incompatible avec toute occupation ou tout acte de nature à porter atteinte à l'indépendance de la personne qui l'exerce en particulier :</a:t>
            </a:r>
          </a:p>
          <a:p>
            <a:pPr algn="l"/>
            <a:r>
              <a:rPr lang="fr-FR" b="0" i="0" dirty="0">
                <a:solidFill>
                  <a:srgbClr val="3C3C3C"/>
                </a:solidFill>
                <a:effectLst/>
                <a:latin typeface="sourcesanspro"/>
              </a:rPr>
              <a:t>…….</a:t>
            </a:r>
          </a:p>
          <a:p>
            <a:pPr algn="l"/>
            <a:r>
              <a:rPr lang="fr-FR" b="0" i="0" dirty="0">
                <a:solidFill>
                  <a:srgbClr val="3C3C3C"/>
                </a:solidFill>
                <a:effectLst/>
                <a:latin typeface="sourcesanspro"/>
              </a:rPr>
              <a:t>Ils peuvent également, sans pouvoir en faire l'objet principal de leur activité :</a:t>
            </a:r>
          </a:p>
          <a:p>
            <a:pPr algn="l"/>
            <a:r>
              <a:rPr lang="fr-FR" b="0" i="0" dirty="0">
                <a:solidFill>
                  <a:srgbClr val="3C3C3C"/>
                </a:solidFill>
                <a:effectLst/>
                <a:latin typeface="sourcesanspro"/>
              </a:rPr>
              <a:t>1° Effectuer toutes études ou tous travaux d'ordre statistique, économique, administratif, ainsi que tous travaux et études à caractère administratif ou technique, dans le domaine social et fiscal, et apporter, dans ces matières, leur avis devant toute autorité ou organisme public ou privé qui les y autorise ;</a:t>
            </a:r>
          </a:p>
          <a:p>
            <a:pPr marL="0" indent="0">
              <a:buNone/>
            </a:pPr>
            <a:endParaRPr lang="fr-F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62008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3FB199-37AF-4AEB-91D2-99997345373F}"/>
              </a:ext>
            </a:extLst>
          </p:cNvPr>
          <p:cNvSpPr>
            <a:spLocks noGrp="1"/>
          </p:cNvSpPr>
          <p:nvPr>
            <p:ph type="title"/>
          </p:nvPr>
        </p:nvSpPr>
        <p:spPr>
          <a:xfrm>
            <a:off x="609600" y="274638"/>
            <a:ext cx="10972800" cy="918895"/>
          </a:xfrm>
        </p:spPr>
        <p:txBody>
          <a:bodyPr vert="horz" lIns="91440" tIns="45720" rIns="91440" bIns="45720" rtlCol="0" anchor="ctr">
            <a:normAutofit/>
          </a:bodyPr>
          <a:lstStyle/>
          <a:p>
            <a:r>
              <a:rPr lang="en-US" dirty="0" err="1">
                <a:latin typeface="Arial" panose="020B0604020202020204" pitchFamily="34" charset="0"/>
                <a:cs typeface="Arial" panose="020B0604020202020204" pitchFamily="34" charset="0"/>
              </a:rPr>
              <a:t>Programm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révisionnel</a:t>
            </a:r>
            <a:endParaRPr lang="en-US" dirty="0">
              <a:latin typeface="Arial" panose="020B0604020202020204" pitchFamily="34" charset="0"/>
              <a:cs typeface="Arial" panose="020B0604020202020204" pitchFamily="34" charset="0"/>
            </a:endParaRPr>
          </a:p>
        </p:txBody>
      </p:sp>
      <p:sp>
        <p:nvSpPr>
          <p:cNvPr id="4" name="ZoneTexte 3">
            <a:extLst>
              <a:ext uri="{FF2B5EF4-FFF2-40B4-BE49-F238E27FC236}">
                <a16:creationId xmlns:a16="http://schemas.microsoft.com/office/drawing/2014/main" id="{46D878E7-F5C5-452B-937D-8840816B6ECF}"/>
              </a:ext>
            </a:extLst>
          </p:cNvPr>
          <p:cNvSpPr txBox="1"/>
          <p:nvPr/>
        </p:nvSpPr>
        <p:spPr>
          <a:xfrm>
            <a:off x="2843428" y="6003837"/>
            <a:ext cx="6505071" cy="405405"/>
          </a:xfrm>
          <a:prstGeom prst="rect">
            <a:avLst/>
          </a:prstGeom>
        </p:spPr>
        <p:txBody>
          <a:bodyPr vert="horz" lIns="91440" tIns="45720" rIns="91440" bIns="45720" rtlCol="0">
            <a:normAutofit/>
          </a:bodyPr>
          <a:lstStyle/>
          <a:p>
            <a:pPr algn="ctr">
              <a:lnSpc>
                <a:spcPct val="90000"/>
              </a:lnSpc>
              <a:spcBef>
                <a:spcPts val="1000"/>
              </a:spcBef>
            </a:pPr>
            <a:endParaRPr lang="en-US" sz="1400" dirty="0">
              <a:solidFill>
                <a:prstClr val="white"/>
              </a:solidFill>
              <a:latin typeface="Calibri"/>
            </a:endParaRPr>
          </a:p>
        </p:txBody>
      </p:sp>
      <p:graphicFrame>
        <p:nvGraphicFramePr>
          <p:cNvPr id="3" name="Tableau 2">
            <a:extLst>
              <a:ext uri="{FF2B5EF4-FFF2-40B4-BE49-F238E27FC236}">
                <a16:creationId xmlns:a16="http://schemas.microsoft.com/office/drawing/2014/main" id="{90A39BD7-E179-4570-8079-E6A295B49267}"/>
              </a:ext>
            </a:extLst>
          </p:cNvPr>
          <p:cNvGraphicFramePr>
            <a:graphicFrameLocks noGrp="1"/>
          </p:cNvGraphicFramePr>
          <p:nvPr>
            <p:extLst>
              <p:ext uri="{D42A27DB-BD31-4B8C-83A1-F6EECF244321}">
                <p14:modId xmlns:p14="http://schemas.microsoft.com/office/powerpoint/2010/main" val="1505212150"/>
              </p:ext>
            </p:extLst>
          </p:nvPr>
        </p:nvGraphicFramePr>
        <p:xfrm>
          <a:off x="361741" y="1193533"/>
          <a:ext cx="11220622" cy="5160900"/>
        </p:xfrm>
        <a:graphic>
          <a:graphicData uri="http://schemas.openxmlformats.org/drawingml/2006/table">
            <a:tbl>
              <a:tblPr firstRow="1" firstCol="1" bandRow="1">
                <a:solidFill>
                  <a:srgbClr val="F2F2F2">
                    <a:alpha val="30196"/>
                  </a:srgbClr>
                </a:solidFill>
              </a:tblPr>
              <a:tblGrid>
                <a:gridCol w="1180264">
                  <a:extLst>
                    <a:ext uri="{9D8B030D-6E8A-4147-A177-3AD203B41FA5}">
                      <a16:colId xmlns:a16="http://schemas.microsoft.com/office/drawing/2014/main" val="421084245"/>
                    </a:ext>
                  </a:extLst>
                </a:gridCol>
                <a:gridCol w="10040358">
                  <a:extLst>
                    <a:ext uri="{9D8B030D-6E8A-4147-A177-3AD203B41FA5}">
                      <a16:colId xmlns:a16="http://schemas.microsoft.com/office/drawing/2014/main" val="3974086313"/>
                    </a:ext>
                  </a:extLst>
                </a:gridCol>
              </a:tblGrid>
              <a:tr h="451301">
                <a:tc>
                  <a:txBody>
                    <a:bodyPr/>
                    <a:lstStyle/>
                    <a:p>
                      <a:pPr>
                        <a:tabLst>
                          <a:tab pos="3978910" algn="l"/>
                        </a:tabLst>
                      </a:pPr>
                      <a:r>
                        <a:rPr lang="fr-FR" sz="1500" b="0" cap="none" spc="0" dirty="0">
                          <a:solidFill>
                            <a:schemeClr val="bg1"/>
                          </a:solidFill>
                          <a:effectLst/>
                          <a:latin typeface="Arial" panose="020B0604020202020204" pitchFamily="34" charset="0"/>
                          <a:ea typeface="Times New Roman" panose="02020603050405020304" pitchFamily="18" charset="0"/>
                        </a:rPr>
                        <a:t>Séance</a:t>
                      </a:r>
                      <a:endParaRPr lang="fr-FR" sz="1500" b="0" cap="none" spc="0" dirty="0">
                        <a:solidFill>
                          <a:schemeClr val="bg1"/>
                        </a:solidFill>
                        <a:effectLst/>
                        <a:latin typeface="Times New Roman" panose="02020603050405020304" pitchFamily="18" charset="0"/>
                        <a:ea typeface="Times New Roman" panose="02020603050405020304" pitchFamily="18" charset="0"/>
                      </a:endParaRPr>
                    </a:p>
                  </a:txBody>
                  <a:tcPr marL="123949" marR="71509" marT="95345" marB="95345" anchor="ctr">
                    <a:lnL w="19050" cap="flat" cmpd="sng" algn="ctr">
                      <a:noFill/>
                      <a:prstDash val="solid"/>
                    </a:lnL>
                    <a:lnR w="12700" cmpd="sng">
                      <a:noFill/>
                    </a:lnR>
                    <a:lnT w="19050" cap="flat" cmpd="sng" algn="ctr">
                      <a:noFill/>
                      <a:prstDash val="solid"/>
                    </a:lnT>
                    <a:lnB w="38100" cmpd="sng">
                      <a:noFill/>
                    </a:lnB>
                    <a:solidFill>
                      <a:schemeClr val="accent1"/>
                    </a:solidFill>
                  </a:tcPr>
                </a:tc>
                <a:tc>
                  <a:txBody>
                    <a:bodyPr/>
                    <a:lstStyle/>
                    <a:p>
                      <a:pPr>
                        <a:tabLst>
                          <a:tab pos="3978910" algn="l"/>
                        </a:tabLst>
                      </a:pPr>
                      <a:r>
                        <a:rPr lang="fr-FR" sz="1500" b="0" cap="none" spc="0" dirty="0">
                          <a:solidFill>
                            <a:schemeClr val="bg1"/>
                          </a:solidFill>
                          <a:effectLst/>
                          <a:latin typeface="Arial" panose="020B0604020202020204" pitchFamily="34" charset="0"/>
                          <a:ea typeface="Times New Roman" panose="02020603050405020304" pitchFamily="18" charset="0"/>
                        </a:rPr>
                        <a:t>Contenu des séances</a:t>
                      </a:r>
                      <a:endParaRPr lang="fr-FR" sz="1500" b="0" cap="none" spc="0" dirty="0">
                        <a:solidFill>
                          <a:schemeClr val="bg1"/>
                        </a:solidFill>
                        <a:effectLst/>
                        <a:latin typeface="Times New Roman" panose="02020603050405020304" pitchFamily="18" charset="0"/>
                        <a:ea typeface="Times New Roman" panose="02020603050405020304" pitchFamily="18" charset="0"/>
                      </a:endParaRPr>
                    </a:p>
                  </a:txBody>
                  <a:tcPr marL="123949" marR="71509" marT="95345" marB="95345" anchor="ctr">
                    <a:lnL w="12700" cmpd="sng">
                      <a:noFill/>
                    </a:lnL>
                    <a:lnR w="12700" cmpd="sng">
                      <a:noFill/>
                    </a:lnR>
                    <a:lnT w="19050" cap="flat" cmpd="sng" algn="ctr">
                      <a:noFill/>
                      <a:prstDash val="solid"/>
                    </a:lnT>
                    <a:lnB w="38100" cmpd="sng">
                      <a:noFill/>
                    </a:lnB>
                    <a:solidFill>
                      <a:schemeClr val="accent1"/>
                    </a:solidFill>
                  </a:tcPr>
                </a:tc>
                <a:extLst>
                  <a:ext uri="{0D108BD9-81ED-4DB2-BD59-A6C34878D82A}">
                    <a16:rowId xmlns:a16="http://schemas.microsoft.com/office/drawing/2014/main" val="894008224"/>
                  </a:ext>
                </a:extLst>
              </a:tr>
              <a:tr h="451301">
                <a:tc>
                  <a:txBody>
                    <a:bodyPr/>
                    <a:lstStyle/>
                    <a:p>
                      <a:pPr>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rPr>
                        <a:t>1-2-</a:t>
                      </a:r>
                      <a:r>
                        <a:rPr lang="fr-FR" sz="1500" cap="none" spc="0" dirty="0">
                          <a:solidFill>
                            <a:srgbClr val="FF0000"/>
                          </a:solidFill>
                          <a:effectLst/>
                          <a:latin typeface="Arial" panose="020B0604020202020204" pitchFamily="34" charset="0"/>
                          <a:ea typeface="Times New Roman" panose="02020603050405020304" pitchFamily="18" charset="0"/>
                        </a:rPr>
                        <a:t>3</a:t>
                      </a:r>
                      <a:r>
                        <a:rPr lang="fr-FR" sz="1500" cap="none" spc="0" dirty="0">
                          <a:solidFill>
                            <a:schemeClr val="tx1"/>
                          </a:solidFill>
                          <a:effectLst/>
                          <a:latin typeface="Arial" panose="020B0604020202020204" pitchFamily="34" charset="0"/>
                          <a:ea typeface="Times New Roman" panose="02020603050405020304" pitchFamily="18" charset="0"/>
                        </a:rPr>
                        <a:t>-</a:t>
                      </a:r>
                      <a:r>
                        <a:rPr lang="fr-FR" sz="1500" cap="none" spc="0" dirty="0">
                          <a:solidFill>
                            <a:srgbClr val="FF0000"/>
                          </a:solidFill>
                          <a:effectLst/>
                          <a:latin typeface="Arial" panose="020B0604020202020204" pitchFamily="34" charset="0"/>
                          <a:ea typeface="Times New Roman" panose="02020603050405020304" pitchFamily="18" charset="0"/>
                        </a:rPr>
                        <a:t>4</a:t>
                      </a:r>
                      <a:endParaRPr lang="fr-FR" sz="1500" cap="none" spc="0" dirty="0">
                        <a:solidFill>
                          <a:srgbClr val="FF0000"/>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38100" cmpd="sng">
                      <a:noFill/>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Concepts et principes de base de la comptabilité – Le PCG – Les différentes classes – LAB -</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38100" cmpd="sng">
                      <a:noFill/>
                    </a:lnT>
                    <a:lnB w="6350" cap="flat" cmpd="sng" algn="ctr">
                      <a:noFill/>
                      <a:prstDash val="solid"/>
                    </a:lnB>
                    <a:solidFill>
                      <a:srgbClr val="F2F2F2">
                        <a:alpha val="30196"/>
                      </a:srgbClr>
                    </a:solidFill>
                  </a:tcPr>
                </a:tc>
                <a:extLst>
                  <a:ext uri="{0D108BD9-81ED-4DB2-BD59-A6C34878D82A}">
                    <a16:rowId xmlns:a16="http://schemas.microsoft.com/office/drawing/2014/main" val="2142013335"/>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5-6</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a comptabilisation – Les documents comptables – Les normes internationales</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771204828"/>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7-8</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12700" cmpd="sng">
                      <a:noFill/>
                      <a:prstDash val="solid"/>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ompte de résultat - Analyse</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12700" cmpd="sng">
                      <a:noFill/>
                      <a:prstDash val="solid"/>
                    </a:lnT>
                    <a:lnB w="6350" cap="flat" cmpd="sng" algn="ctr">
                      <a:noFill/>
                      <a:prstDash val="solid"/>
                    </a:lnB>
                    <a:solidFill>
                      <a:srgbClr val="F2F2F2">
                        <a:alpha val="30196"/>
                      </a:srgbClr>
                    </a:solidFill>
                  </a:tcPr>
                </a:tc>
                <a:extLst>
                  <a:ext uri="{0D108BD9-81ED-4DB2-BD59-A6C34878D82A}">
                    <a16:rowId xmlns:a16="http://schemas.microsoft.com/office/drawing/2014/main" val="2307725469"/>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9-10</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lan – Les actifs – Les immobilisations – IFRS 16</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016166339"/>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11-12</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12700" cmpd="sng">
                      <a:noFill/>
                      <a:prstDash val="solid"/>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lan – Les actifs</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12700" cmpd="sng">
                      <a:noFill/>
                      <a:prstDash val="solid"/>
                    </a:lnT>
                    <a:lnB w="6350" cap="flat" cmpd="sng" algn="ctr">
                      <a:noFill/>
                      <a:prstDash val="solid"/>
                    </a:lnB>
                    <a:solidFill>
                      <a:srgbClr val="F2F2F2">
                        <a:alpha val="30196"/>
                      </a:srgbClr>
                    </a:solidFill>
                  </a:tcPr>
                </a:tc>
                <a:extLst>
                  <a:ext uri="{0D108BD9-81ED-4DB2-BD59-A6C34878D82A}">
                    <a16:rowId xmlns:a16="http://schemas.microsoft.com/office/drawing/2014/main" val="2015265399"/>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13-14</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lan – Le passif – les capitaux propres – Les provisions</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4279858747"/>
                  </a:ext>
                </a:extLst>
              </a:tr>
              <a:tr h="451301">
                <a:tc>
                  <a:txBody>
                    <a:bodyPr/>
                    <a:lstStyle/>
                    <a:p>
                      <a:pPr>
                        <a:tabLst>
                          <a:tab pos="3978910" algn="l"/>
                        </a:tabLst>
                      </a:pPr>
                      <a:r>
                        <a:rPr lang="fr-FR" sz="1500" cap="none" spc="0">
                          <a:solidFill>
                            <a:schemeClr val="tx1"/>
                          </a:solidFill>
                          <a:effectLst/>
                          <a:latin typeface="Arial" panose="020B0604020202020204" pitchFamily="34" charset="0"/>
                          <a:ea typeface="Times New Roman" panose="02020603050405020304" pitchFamily="18" charset="0"/>
                        </a:rPr>
                        <a:t>15-16</a:t>
                      </a:r>
                      <a:endParaRPr lang="fr-FR" sz="1500" cap="none" spc="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12700" cmpd="sng">
                      <a:noFill/>
                      <a:prstDash val="solid"/>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Le bilan – le passif – Dettes à LT et autres dettes </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12700" cmpd="sng">
                      <a:noFill/>
                      <a:prstDash val="solid"/>
                    </a:lnT>
                    <a:lnB w="6350" cap="flat" cmpd="sng" algn="ctr">
                      <a:noFill/>
                      <a:prstDash val="solid"/>
                    </a:lnB>
                    <a:solidFill>
                      <a:srgbClr val="F2F2F2">
                        <a:alpha val="30196"/>
                      </a:srgbClr>
                    </a:solidFill>
                  </a:tcPr>
                </a:tc>
                <a:extLst>
                  <a:ext uri="{0D108BD9-81ED-4DB2-BD59-A6C34878D82A}">
                    <a16:rowId xmlns:a16="http://schemas.microsoft.com/office/drawing/2014/main" val="3544203615"/>
                  </a:ext>
                </a:extLst>
              </a:tr>
              <a:tr h="451301">
                <a:tc>
                  <a:txBody>
                    <a:bodyPr/>
                    <a:lstStyle/>
                    <a:p>
                      <a:pPr>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rPr>
                        <a:t>17-18</a:t>
                      </a:r>
                      <a:endParaRPr lang="fr-FR" sz="1500" cap="none" spc="0" dirty="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écritures d’inventaire</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913093419"/>
                  </a:ext>
                </a:extLst>
              </a:tr>
              <a:tr h="451301">
                <a:tc>
                  <a:txBody>
                    <a:bodyPr/>
                    <a:lstStyle/>
                    <a:p>
                      <a:pPr>
                        <a:tabLst>
                          <a:tab pos="3978910" algn="l"/>
                        </a:tabLst>
                      </a:pPr>
                      <a:r>
                        <a:rPr lang="fr-FR" sz="1500" cap="none" spc="0" dirty="0">
                          <a:solidFill>
                            <a:schemeClr val="tx1"/>
                          </a:solidFill>
                          <a:effectLst/>
                          <a:latin typeface="Times New Roman" panose="02020603050405020304" pitchFamily="18" charset="0"/>
                          <a:ea typeface="Times New Roman" panose="02020603050405020304" pitchFamily="18" charset="0"/>
                        </a:rPr>
                        <a:t>19-20</a:t>
                      </a: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annexe</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480796521"/>
                  </a:ext>
                </a:extLst>
              </a:tr>
              <a:tr h="451301">
                <a:tc>
                  <a:txBody>
                    <a:bodyPr/>
                    <a:lstStyle/>
                    <a:p>
                      <a:pPr>
                        <a:tabLst>
                          <a:tab pos="3978910" algn="l"/>
                        </a:tabLst>
                      </a:pPr>
                      <a:r>
                        <a:rPr lang="fr-FR" sz="1500" cap="none" spc="0" dirty="0">
                          <a:solidFill>
                            <a:schemeClr val="tx1"/>
                          </a:solidFill>
                          <a:effectLst/>
                          <a:latin typeface="Times New Roman" panose="02020603050405020304" pitchFamily="18" charset="0"/>
                          <a:ea typeface="Times New Roman" panose="02020603050405020304" pitchFamily="18" charset="0"/>
                        </a:rPr>
                        <a:t>21-22</a:t>
                      </a: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points particuliers – La TVA – Affectation du résultat</a:t>
                      </a:r>
                    </a:p>
                    <a:p>
                      <a:pPr algn="just">
                        <a:tabLst>
                          <a:tab pos="3978910" algn="l"/>
                        </a:tabLst>
                      </a:pPr>
                      <a:endPar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654891150"/>
                  </a:ext>
                </a:extLst>
              </a:tr>
            </a:tbl>
          </a:graphicData>
        </a:graphic>
      </p:graphicFrame>
    </p:spTree>
    <p:extLst>
      <p:ext uri="{BB962C8B-B14F-4D97-AF65-F5344CB8AC3E}">
        <p14:creationId xmlns:p14="http://schemas.microsoft.com/office/powerpoint/2010/main" val="251691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4842FF-7B87-4819-9D9E-8FAB225F796F}"/>
              </a:ext>
            </a:extLst>
          </p:cNvPr>
          <p:cNvSpPr>
            <a:spLocks noGrp="1"/>
          </p:cNvSpPr>
          <p:nvPr>
            <p:ph type="title"/>
          </p:nvPr>
        </p:nvSpPr>
        <p:spPr>
          <a:xfrm>
            <a:off x="302004" y="138525"/>
            <a:ext cx="10861907" cy="830403"/>
          </a:xfrm>
        </p:spPr>
        <p:txBody>
          <a:bodyPr/>
          <a:lstStyle/>
          <a:p>
            <a:r>
              <a:rPr lang="fr-FR" dirty="0"/>
              <a:t>Art 22 - suite</a:t>
            </a:r>
            <a:endParaRPr lang="fr-FR" sz="2400" dirty="0"/>
          </a:p>
        </p:txBody>
      </p:sp>
      <p:sp>
        <p:nvSpPr>
          <p:cNvPr id="3" name="Espace réservé du contenu 2">
            <a:extLst>
              <a:ext uri="{FF2B5EF4-FFF2-40B4-BE49-F238E27FC236}">
                <a16:creationId xmlns:a16="http://schemas.microsoft.com/office/drawing/2014/main" id="{AE031ED6-BBEB-4F69-BB03-35ED79344BB4}"/>
              </a:ext>
            </a:extLst>
          </p:cNvPr>
          <p:cNvSpPr>
            <a:spLocks noGrp="1"/>
          </p:cNvSpPr>
          <p:nvPr>
            <p:ph idx="1"/>
          </p:nvPr>
        </p:nvSpPr>
        <p:spPr>
          <a:xfrm>
            <a:off x="167781" y="1962811"/>
            <a:ext cx="11425805" cy="4127596"/>
          </a:xfrm>
        </p:spPr>
        <p:txBody>
          <a:bodyPr>
            <a:normAutofit/>
          </a:bodyPr>
          <a:lstStyle/>
          <a:p>
            <a:pPr algn="l"/>
            <a:r>
              <a:rPr lang="fr-FR" b="0" i="0" dirty="0">
                <a:solidFill>
                  <a:srgbClr val="3C3C3C"/>
                </a:solidFill>
                <a:effectLst/>
                <a:latin typeface="sourcesanspro"/>
              </a:rPr>
              <a:t>2° Donner des consultations, effectuer toutes études ou tous travaux d'ordre juridique, fiscal ou social et apporter, dans ces matières, leur avis devant toute autorité ou organisme public ou privé qui les y autorise, mais seulement s'il s'agit d'entreprises dans lesquelles ils assurent des missions d'ordre comptable ou d'accompagnement déclaratif et administratif de caractère permanent ou habituel ou dans la mesure où lesdits consultations, études, travaux ou avis sont directement liés aux travaux comptables dont ils sont chargés.</a:t>
            </a:r>
          </a:p>
          <a:p>
            <a:pPr marL="0" indent="0">
              <a:buNone/>
            </a:pPr>
            <a:r>
              <a:rPr lang="fr-FR"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418977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A3BAF07C-C39E-42EB-BB22-8D46691D97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3061"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id="{D8E9CF54-0466-4261-9E62-0249E60E188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29674" y="-59376"/>
            <a:ext cx="12515851" cy="6923798"/>
            <a:chOff x="-329674" y="-51881"/>
            <a:chExt cx="12515851" cy="6923798"/>
          </a:xfrm>
        </p:grpSpPr>
        <p:sp>
          <p:nvSpPr>
            <p:cNvPr id="54" name="Freeform 5">
              <a:extLst>
                <a:ext uri="{FF2B5EF4-FFF2-40B4-BE49-F238E27FC236}">
                  <a16:creationId xmlns:a16="http://schemas.microsoft.com/office/drawing/2014/main" id="{33E32106-E8B1-4F76-9EE6-58537738A3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6">
              <a:extLst>
                <a:ext uri="{FF2B5EF4-FFF2-40B4-BE49-F238E27FC236}">
                  <a16:creationId xmlns:a16="http://schemas.microsoft.com/office/drawing/2014/main" id="{C32C2C46-A045-44FB-8A74-5EBD650C27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7">
              <a:extLst>
                <a:ext uri="{FF2B5EF4-FFF2-40B4-BE49-F238E27FC236}">
                  <a16:creationId xmlns:a16="http://schemas.microsoft.com/office/drawing/2014/main" id="{6A76F79C-6683-4940-BCF7-4BCCCEE406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57" name="Freeform 8">
              <a:extLst>
                <a:ext uri="{FF2B5EF4-FFF2-40B4-BE49-F238E27FC236}">
                  <a16:creationId xmlns:a16="http://schemas.microsoft.com/office/drawing/2014/main" id="{FF4675A3-6D07-4B1F-9BFC-AEBEA1AD067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9">
              <a:extLst>
                <a:ext uri="{FF2B5EF4-FFF2-40B4-BE49-F238E27FC236}">
                  <a16:creationId xmlns:a16="http://schemas.microsoft.com/office/drawing/2014/main" id="{765E127A-B6B7-4B1D-B7BD-6C8C969D29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10">
              <a:extLst>
                <a:ext uri="{FF2B5EF4-FFF2-40B4-BE49-F238E27FC236}">
                  <a16:creationId xmlns:a16="http://schemas.microsoft.com/office/drawing/2014/main" id="{3BCA9D9E-C72C-4751-BFA9-10B85CACE3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11">
              <a:extLst>
                <a:ext uri="{FF2B5EF4-FFF2-40B4-BE49-F238E27FC236}">
                  <a16:creationId xmlns:a16="http://schemas.microsoft.com/office/drawing/2014/main" id="{080C708C-69BF-441B-AB75-C98160ED06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1" name="Freeform 12">
              <a:extLst>
                <a:ext uri="{FF2B5EF4-FFF2-40B4-BE49-F238E27FC236}">
                  <a16:creationId xmlns:a16="http://schemas.microsoft.com/office/drawing/2014/main" id="{3E79964E-F8F1-4763-8892-7BC3DAE30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2" name="Freeform 13">
              <a:extLst>
                <a:ext uri="{FF2B5EF4-FFF2-40B4-BE49-F238E27FC236}">
                  <a16:creationId xmlns:a16="http://schemas.microsoft.com/office/drawing/2014/main" id="{FE09592A-FCC9-4AE5-BA0B-730C6F3BBE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3" name="Freeform 14">
              <a:extLst>
                <a:ext uri="{FF2B5EF4-FFF2-40B4-BE49-F238E27FC236}">
                  <a16:creationId xmlns:a16="http://schemas.microsoft.com/office/drawing/2014/main" id="{96448994-820C-4BC1-ABF3-4579C6F99A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4" name="Freeform 15">
              <a:extLst>
                <a:ext uri="{FF2B5EF4-FFF2-40B4-BE49-F238E27FC236}">
                  <a16:creationId xmlns:a16="http://schemas.microsoft.com/office/drawing/2014/main" id="{9BB0D192-565A-42B9-B292-CC032D71A6A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5" name="Freeform 16">
              <a:extLst>
                <a:ext uri="{FF2B5EF4-FFF2-40B4-BE49-F238E27FC236}">
                  <a16:creationId xmlns:a16="http://schemas.microsoft.com/office/drawing/2014/main" id="{6D1CA09C-5F40-4E92-A7E9-D1FCEE5128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6" name="Freeform 17">
              <a:extLst>
                <a:ext uri="{FF2B5EF4-FFF2-40B4-BE49-F238E27FC236}">
                  <a16:creationId xmlns:a16="http://schemas.microsoft.com/office/drawing/2014/main" id="{379F5AA5-2E14-4880-A5A6-07AEF2AD89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7" name="Freeform 18">
              <a:extLst>
                <a:ext uri="{FF2B5EF4-FFF2-40B4-BE49-F238E27FC236}">
                  <a16:creationId xmlns:a16="http://schemas.microsoft.com/office/drawing/2014/main" id="{EF14BD32-D239-4DA3-98B3-7752073657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8" name="Freeform 19">
              <a:extLst>
                <a:ext uri="{FF2B5EF4-FFF2-40B4-BE49-F238E27FC236}">
                  <a16:creationId xmlns:a16="http://schemas.microsoft.com/office/drawing/2014/main" id="{CF07B250-E5E4-4624-9BD7-8D513A67B7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9" name="Freeform 20">
              <a:extLst>
                <a:ext uri="{FF2B5EF4-FFF2-40B4-BE49-F238E27FC236}">
                  <a16:creationId xmlns:a16="http://schemas.microsoft.com/office/drawing/2014/main" id="{BCC5D120-7C8C-4290-865C-4EE6E4F245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0" name="Freeform 21">
              <a:extLst>
                <a:ext uri="{FF2B5EF4-FFF2-40B4-BE49-F238E27FC236}">
                  <a16:creationId xmlns:a16="http://schemas.microsoft.com/office/drawing/2014/main" id="{C24688C6-CAE5-4EF2-B2BA-A138DA0A24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1" name="Freeform 22">
              <a:extLst>
                <a:ext uri="{FF2B5EF4-FFF2-40B4-BE49-F238E27FC236}">
                  <a16:creationId xmlns:a16="http://schemas.microsoft.com/office/drawing/2014/main" id="{6BD31099-7C13-4901-A04F-632B1CD846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2" name="Freeform 23">
              <a:extLst>
                <a:ext uri="{FF2B5EF4-FFF2-40B4-BE49-F238E27FC236}">
                  <a16:creationId xmlns:a16="http://schemas.microsoft.com/office/drawing/2014/main" id="{679F5FF7-82B2-4033-8FBE-63170C9378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888629" y="4760132"/>
            <a:ext cx="8873434" cy="1777829"/>
          </a:xfrm>
          <a:prstGeom prst="ellipse">
            <a:avLst/>
          </a:prstGeom>
        </p:spPr>
        <p:txBody>
          <a:bodyPr vert="horz" lIns="91440" tIns="45720" rIns="91440" bIns="45720" rtlCol="0" anchor="ctr">
            <a:normAutofit fontScale="90000"/>
          </a:bodyPr>
          <a:lstStyle/>
          <a:p>
            <a:pPr algn="r"/>
            <a:r>
              <a:rPr lang="en-US" sz="4000" dirty="0" err="1">
                <a:latin typeface="Arial" panose="020B0604020202020204" pitchFamily="34" charset="0"/>
                <a:cs typeface="Arial" panose="020B0604020202020204" pitchFamily="34" charset="0"/>
              </a:rPr>
              <a:t>Comptabilité</a:t>
            </a:r>
            <a:r>
              <a:rPr lang="en-US" sz="4000" dirty="0">
                <a:latin typeface="Arial" panose="020B0604020202020204" pitchFamily="34" charset="0"/>
                <a:cs typeface="Arial" panose="020B0604020202020204" pitchFamily="34" charset="0"/>
              </a:rPr>
              <a:t> – Son essence</a:t>
            </a:r>
            <a:br>
              <a:rPr lang="en-US" sz="2500" dirty="0"/>
            </a:br>
            <a:br>
              <a:rPr lang="en-US" sz="2500" dirty="0"/>
            </a:br>
            <a:endParaRPr lang="en-US" sz="2500" dirty="0"/>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rotWithShape="1">
          <a:blip r:embed="rId4"/>
          <a:srcRect t="42737" b="2431"/>
          <a:stretch/>
        </p:blipFill>
        <p:spPr>
          <a:xfrm>
            <a:off x="-22618" y="12732"/>
            <a:ext cx="12191980" cy="4595954"/>
          </a:xfrm>
          <a:custGeom>
            <a:avLst/>
            <a:gdLst/>
            <a:ahLst/>
            <a:cxnLst/>
            <a:rect l="l" t="t" r="r" b="b"/>
            <a:pathLst>
              <a:path w="12192000" h="4621300">
                <a:moveTo>
                  <a:pt x="0" y="0"/>
                </a:moveTo>
                <a:lnTo>
                  <a:pt x="12192000" y="0"/>
                </a:lnTo>
                <a:lnTo>
                  <a:pt x="12192000" y="3104412"/>
                </a:lnTo>
                <a:lnTo>
                  <a:pt x="12192000" y="3296537"/>
                </a:lnTo>
                <a:lnTo>
                  <a:pt x="12192000" y="4272355"/>
                </a:lnTo>
                <a:lnTo>
                  <a:pt x="12113803" y="4280638"/>
                </a:lnTo>
                <a:cubicBezTo>
                  <a:pt x="10139508" y="4478587"/>
                  <a:pt x="8237152" y="4571590"/>
                  <a:pt x="6753597" y="4604195"/>
                </a:cubicBezTo>
                <a:cubicBezTo>
                  <a:pt x="4940362" y="4644044"/>
                  <a:pt x="2657278" y="4624714"/>
                  <a:pt x="400746" y="4432852"/>
                </a:cubicBezTo>
                <a:lnTo>
                  <a:pt x="0" y="4395876"/>
                </a:lnTo>
                <a:lnTo>
                  <a:pt x="0" y="3296537"/>
                </a:lnTo>
                <a:lnTo>
                  <a:pt x="0" y="3104412"/>
                </a:lnTo>
                <a:close/>
              </a:path>
            </a:pathLst>
          </a:custGeom>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66349221"/>
      </p:ext>
    </p:extLst>
  </p:cSld>
  <p:clrMapOvr>
    <a:overrideClrMapping bg1="dk1" tx1="lt1" bg2="dk2" tx2="lt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14">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41248" y="548640"/>
            <a:ext cx="3600860" cy="5431536"/>
          </a:xfrm>
        </p:spPr>
        <p:txBody>
          <a:bodyPr vert="horz" lIns="91440" tIns="45720" rIns="91440" bIns="45720" rtlCol="0" anchor="ctr">
            <a:normAutofit/>
          </a:bodyPr>
          <a:lstStyle/>
          <a:p>
            <a:r>
              <a:rPr lang="en-US" sz="4200" b="0" i="0" kern="1200" cap="all" dirty="0">
                <a:solidFill>
                  <a:schemeClr val="tx1"/>
                </a:solidFill>
                <a:effectLst/>
                <a:latin typeface="+mj-lt"/>
                <a:ea typeface="+mj-ea"/>
                <a:cs typeface="+mj-cs"/>
              </a:rPr>
              <a:t>La </a:t>
            </a:r>
            <a:r>
              <a:rPr lang="en-US" sz="4200" b="0" i="0" kern="1200" cap="all" dirty="0" err="1">
                <a:solidFill>
                  <a:schemeClr val="tx1"/>
                </a:solidFill>
                <a:effectLst/>
                <a:latin typeface="+mj-lt"/>
                <a:ea typeface="+mj-ea"/>
                <a:cs typeface="+mj-cs"/>
              </a:rPr>
              <a:t>comptabilité</a:t>
            </a:r>
            <a:br>
              <a:rPr lang="en-US" sz="4200" b="0" i="0" kern="1200" cap="all" dirty="0">
                <a:solidFill>
                  <a:schemeClr val="tx1"/>
                </a:solidFill>
                <a:effectLst/>
                <a:latin typeface="+mj-lt"/>
                <a:ea typeface="+mj-ea"/>
                <a:cs typeface="+mj-cs"/>
              </a:rPr>
            </a:br>
            <a:br>
              <a:rPr lang="en-US" sz="4200" b="0" i="0" kern="1200" cap="all" dirty="0">
                <a:solidFill>
                  <a:schemeClr val="tx1"/>
                </a:solidFill>
                <a:effectLst/>
                <a:latin typeface="+mj-lt"/>
                <a:ea typeface="+mj-ea"/>
                <a:cs typeface="+mj-cs"/>
              </a:rPr>
            </a:br>
            <a:r>
              <a:rPr lang="en-US" sz="4200" kern="1200" dirty="0">
                <a:solidFill>
                  <a:schemeClr val="tx1"/>
                </a:solidFill>
                <a:latin typeface="+mj-lt"/>
                <a:ea typeface="+mj-ea"/>
                <a:cs typeface="+mj-cs"/>
              </a:rPr>
              <a:t>Rappel</a:t>
            </a:r>
          </a:p>
        </p:txBody>
      </p:sp>
      <p:sp>
        <p:nvSpPr>
          <p:cNvPr id="26"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ZoneTexte 9">
            <a:extLst>
              <a:ext uri="{FF2B5EF4-FFF2-40B4-BE49-F238E27FC236}">
                <a16:creationId xmlns:a16="http://schemas.microsoft.com/office/drawing/2014/main" id="{2104DD9E-7F53-465D-8561-41BB61362ACA}"/>
              </a:ext>
            </a:extLst>
          </p:cNvPr>
          <p:cNvSpPr txBox="1"/>
          <p:nvPr/>
        </p:nvSpPr>
        <p:spPr>
          <a:xfrm>
            <a:off x="5126418" y="552091"/>
            <a:ext cx="6224335" cy="5431536"/>
          </a:xfrm>
          <a:prstGeom prst="rect">
            <a:avLst/>
          </a:prstGeom>
        </p:spPr>
        <p:txBody>
          <a:bodyPr vert="horz" lIns="91440" tIns="45720" rIns="91440" bIns="45720" rtlCol="0" anchor="ctr">
            <a:normAutofit/>
          </a:bodyPr>
          <a:lstStyle/>
          <a:p>
            <a:pPr marL="228600" indent="-228600">
              <a:lnSpc>
                <a:spcPct val="90000"/>
              </a:lnSpc>
              <a:spcAft>
                <a:spcPts val="600"/>
              </a:spcAft>
              <a:buFont typeface="Arial" panose="020B0604020202020204" pitchFamily="34" charset="0"/>
              <a:buChar char="•"/>
            </a:pPr>
            <a:r>
              <a:rPr lang="en-US" sz="4000" dirty="0" err="1"/>
              <a:t>Langage</a:t>
            </a:r>
            <a:endParaRPr lang="en-US" sz="4000" dirty="0"/>
          </a:p>
          <a:p>
            <a:pPr marL="228600" indent="-228600">
              <a:lnSpc>
                <a:spcPct val="90000"/>
              </a:lnSpc>
              <a:spcAft>
                <a:spcPts val="600"/>
              </a:spcAft>
              <a:buFont typeface="Arial" panose="020B0604020202020204" pitchFamily="34" charset="0"/>
              <a:buChar char="•"/>
            </a:pPr>
            <a:endParaRPr lang="en-US" sz="4000" dirty="0"/>
          </a:p>
          <a:p>
            <a:pPr marL="228600" indent="-228600">
              <a:lnSpc>
                <a:spcPct val="90000"/>
              </a:lnSpc>
              <a:spcAft>
                <a:spcPts val="600"/>
              </a:spcAft>
              <a:buFont typeface="Arial" panose="020B0604020202020204" pitchFamily="34" charset="0"/>
              <a:buChar char="•"/>
            </a:pPr>
            <a:r>
              <a:rPr lang="en-US" sz="4000" dirty="0" err="1"/>
              <a:t>Sert</a:t>
            </a:r>
            <a:r>
              <a:rPr lang="en-US" sz="4000" dirty="0"/>
              <a:t> à </a:t>
            </a:r>
            <a:r>
              <a:rPr lang="en-US" sz="4000" dirty="0" err="1"/>
              <a:t>communiquer</a:t>
            </a:r>
            <a:r>
              <a:rPr lang="en-US" sz="4000" dirty="0"/>
              <a:t> 	</a:t>
            </a:r>
          </a:p>
          <a:p>
            <a:pPr>
              <a:lnSpc>
                <a:spcPct val="90000"/>
              </a:lnSpc>
              <a:spcAft>
                <a:spcPts val="600"/>
              </a:spcAft>
            </a:pPr>
            <a:r>
              <a:rPr lang="en-US" sz="4000" dirty="0"/>
              <a:t>		</a:t>
            </a:r>
          </a:p>
          <a:p>
            <a:pPr marL="228600" indent="-228600">
              <a:lnSpc>
                <a:spcPct val="90000"/>
              </a:lnSpc>
              <a:spcAft>
                <a:spcPts val="600"/>
              </a:spcAft>
              <a:buFont typeface="Arial" panose="020B0604020202020204" pitchFamily="34" charset="0"/>
              <a:buChar char="•"/>
            </a:pPr>
            <a:r>
              <a:rPr lang="en-US" sz="4000" dirty="0" err="1"/>
              <a:t>Sert</a:t>
            </a:r>
            <a:r>
              <a:rPr lang="en-US" sz="4000" dirty="0"/>
              <a:t> à </a:t>
            </a:r>
            <a:r>
              <a:rPr lang="en-US" sz="4000" dirty="0" err="1"/>
              <a:t>établir</a:t>
            </a:r>
            <a:r>
              <a:rPr lang="en-US" sz="4000" dirty="0"/>
              <a:t> les </a:t>
            </a:r>
            <a:r>
              <a:rPr lang="en-US" sz="4000" dirty="0" err="1"/>
              <a:t>états</a:t>
            </a:r>
            <a:r>
              <a:rPr lang="en-US" sz="4000" dirty="0"/>
              <a:t> financiers</a:t>
            </a:r>
          </a:p>
          <a:p>
            <a:pPr marL="228600" indent="-228600">
              <a:lnSpc>
                <a:spcPct val="90000"/>
              </a:lnSpc>
              <a:spcAft>
                <a:spcPts val="600"/>
              </a:spcAft>
              <a:buFont typeface="Arial" panose="020B0604020202020204" pitchFamily="34" charset="0"/>
              <a:buChar char="•"/>
            </a:pPr>
            <a:endParaRPr lang="en-US" sz="2200" dirty="0"/>
          </a:p>
        </p:txBody>
      </p:sp>
    </p:spTree>
    <p:extLst>
      <p:ext uri="{BB962C8B-B14F-4D97-AF65-F5344CB8AC3E}">
        <p14:creationId xmlns:p14="http://schemas.microsoft.com/office/powerpoint/2010/main" val="31852614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82413CC-69E6-4BDA-A88D-E4EF8F95B2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4F1F7357-8633-4CE7-BF80-475EE8A2FAE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4" name="Freeform 5">
              <a:extLst>
                <a:ext uri="{FF2B5EF4-FFF2-40B4-BE49-F238E27FC236}">
                  <a16:creationId xmlns:a16="http://schemas.microsoft.com/office/drawing/2014/main" id="{E402FE4E-C12D-497C-AF81-F08E4E02B4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306513" y="0"/>
              <a:ext cx="3862388" cy="6843713"/>
            </a:xfrm>
            <a:custGeom>
              <a:avLst/>
              <a:gdLst>
                <a:gd name="T0" fmla="*/ 813 w 813"/>
                <a:gd name="T1" fmla="*/ 0 h 1440"/>
                <a:gd name="T2" fmla="*/ 435 w 813"/>
                <a:gd name="T3" fmla="*/ 1440 h 1440"/>
              </a:gdLst>
              <a:ahLst/>
              <a:cxnLst>
                <a:cxn ang="0">
                  <a:pos x="T0" y="T1"/>
                </a:cxn>
                <a:cxn ang="0">
                  <a:pos x="T2" y="T3"/>
                </a:cxn>
              </a:cxnLst>
              <a:rect l="0" t="0" r="r" b="b"/>
              <a:pathLst>
                <a:path w="813" h="1440">
                  <a:moveTo>
                    <a:pt x="813" y="0"/>
                  </a:moveTo>
                  <a:cubicBezTo>
                    <a:pt x="331" y="221"/>
                    <a:pt x="0" y="1039"/>
                    <a:pt x="43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59247B10-170D-4E62-849A-38FCB43C6A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26725" y="9525"/>
              <a:ext cx="1539875" cy="555625"/>
            </a:xfrm>
            <a:custGeom>
              <a:avLst/>
              <a:gdLst>
                <a:gd name="T0" fmla="*/ 324 w 324"/>
                <a:gd name="T1" fmla="*/ 117 h 117"/>
                <a:gd name="T2" fmla="*/ 0 w 324"/>
                <a:gd name="T3" fmla="*/ 0 h 117"/>
              </a:gdLst>
              <a:ahLst/>
              <a:cxnLst>
                <a:cxn ang="0">
                  <a:pos x="T0" y="T1"/>
                </a:cxn>
                <a:cxn ang="0">
                  <a:pos x="T2" y="T3"/>
                </a:cxn>
              </a:cxnLst>
              <a:rect l="0" t="0" r="r" b="b"/>
              <a:pathLst>
                <a:path w="324" h="117">
                  <a:moveTo>
                    <a:pt x="324" y="117"/>
                  </a:moveTo>
                  <a:cubicBezTo>
                    <a:pt x="223" y="64"/>
                    <a:pt x="107" y="28"/>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89A587A7-1BEF-45AA-9EFC-6558A8749C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247313" y="5013325"/>
              <a:ext cx="1919288" cy="1830388"/>
            </a:xfrm>
            <a:custGeom>
              <a:avLst/>
              <a:gdLst>
                <a:gd name="T0" fmla="*/ 0 w 404"/>
                <a:gd name="T1" fmla="*/ 385 h 385"/>
                <a:gd name="T2" fmla="*/ 404 w 404"/>
                <a:gd name="T3" fmla="*/ 0 h 385"/>
              </a:gdLst>
              <a:ahLst/>
              <a:cxnLst>
                <a:cxn ang="0">
                  <a:pos x="T0" y="T1"/>
                </a:cxn>
                <a:cxn ang="0">
                  <a:pos x="T2" y="T3"/>
                </a:cxn>
              </a:cxnLst>
              <a:rect l="0" t="0" r="r" b="b"/>
              <a:pathLst>
                <a:path w="404" h="385">
                  <a:moveTo>
                    <a:pt x="0" y="385"/>
                  </a:moveTo>
                  <a:cubicBezTo>
                    <a:pt x="146" y="272"/>
                    <a:pt x="285" y="142"/>
                    <a:pt x="404"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AC25B5A1-6EF7-44EC-A2F0-1EDC96A79B0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775" y="0"/>
              <a:ext cx="3676650" cy="6843713"/>
            </a:xfrm>
            <a:custGeom>
              <a:avLst/>
              <a:gdLst>
                <a:gd name="T0" fmla="*/ 774 w 774"/>
                <a:gd name="T1" fmla="*/ 0 h 1440"/>
                <a:gd name="T2" fmla="*/ 411 w 774"/>
                <a:gd name="T3" fmla="*/ 1440 h 1440"/>
              </a:gdLst>
              <a:ahLst/>
              <a:cxnLst>
                <a:cxn ang="0">
                  <a:pos x="T0" y="T1"/>
                </a:cxn>
                <a:cxn ang="0">
                  <a:pos x="T2" y="T3"/>
                </a:cxn>
              </a:cxnLst>
              <a:rect l="0" t="0" r="r" b="b"/>
              <a:pathLst>
                <a:path w="774" h="1440">
                  <a:moveTo>
                    <a:pt x="774" y="0"/>
                  </a:moveTo>
                  <a:cubicBezTo>
                    <a:pt x="312" y="240"/>
                    <a:pt x="0" y="1034"/>
                    <a:pt x="411" y="144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80B8582C-7E17-4115-9FF1-979C8405CB5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2988" y="9525"/>
              <a:ext cx="963613" cy="366713"/>
            </a:xfrm>
            <a:custGeom>
              <a:avLst/>
              <a:gdLst>
                <a:gd name="T0" fmla="*/ 203 w 203"/>
                <a:gd name="T1" fmla="*/ 77 h 77"/>
                <a:gd name="T2" fmla="*/ 0 w 203"/>
                <a:gd name="T3" fmla="*/ 0 h 77"/>
              </a:gdLst>
              <a:ahLst/>
              <a:cxnLst>
                <a:cxn ang="0">
                  <a:pos x="T0" y="T1"/>
                </a:cxn>
                <a:cxn ang="0">
                  <a:pos x="T2" y="T3"/>
                </a:cxn>
              </a:cxnLst>
              <a:rect l="0" t="0" r="r" b="b"/>
              <a:pathLst>
                <a:path w="203" h="77">
                  <a:moveTo>
                    <a:pt x="203" y="77"/>
                  </a:moveTo>
                  <a:cubicBezTo>
                    <a:pt x="138" y="46"/>
                    <a:pt x="68" y="21"/>
                    <a:pt x="0"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F6C4AB66-7A18-4E51-935B-237F4CA8272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494963" y="5275263"/>
              <a:ext cx="1666875" cy="1577975"/>
            </a:xfrm>
            <a:custGeom>
              <a:avLst/>
              <a:gdLst>
                <a:gd name="T0" fmla="*/ 0 w 351"/>
                <a:gd name="T1" fmla="*/ 332 h 332"/>
                <a:gd name="T2" fmla="*/ 351 w 351"/>
                <a:gd name="T3" fmla="*/ 0 h 332"/>
              </a:gdLst>
              <a:ahLst/>
              <a:cxnLst>
                <a:cxn ang="0">
                  <a:pos x="T0" y="T1"/>
                </a:cxn>
                <a:cxn ang="0">
                  <a:pos x="T2" y="T3"/>
                </a:cxn>
              </a:cxnLst>
              <a:rect l="0" t="0" r="r" b="b"/>
              <a:pathLst>
                <a:path w="351" h="332">
                  <a:moveTo>
                    <a:pt x="0" y="332"/>
                  </a:moveTo>
                  <a:cubicBezTo>
                    <a:pt x="125" y="232"/>
                    <a:pt x="245" y="121"/>
                    <a:pt x="351"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CDF12911-A240-4580-8788-0C49DB1FEDB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621088" cy="6843713"/>
            </a:xfrm>
            <a:custGeom>
              <a:avLst/>
              <a:gdLst>
                <a:gd name="T0" fmla="*/ 762 w 762"/>
                <a:gd name="T1" fmla="*/ 0 h 1440"/>
                <a:gd name="T2" fmla="*/ 403 w 762"/>
                <a:gd name="T3" fmla="*/ 1440 h 1440"/>
              </a:gdLst>
              <a:ahLst/>
              <a:cxnLst>
                <a:cxn ang="0">
                  <a:pos x="T0" y="T1"/>
                </a:cxn>
                <a:cxn ang="0">
                  <a:pos x="T2" y="T3"/>
                </a:cxn>
              </a:cxnLst>
              <a:rect l="0" t="0" r="r" b="b"/>
              <a:pathLst>
                <a:path w="762" h="1440">
                  <a:moveTo>
                    <a:pt x="762" y="0"/>
                  </a:moveTo>
                  <a:cubicBezTo>
                    <a:pt x="308" y="245"/>
                    <a:pt x="0" y="1033"/>
                    <a:pt x="403"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EAE0F5DE-442D-4F6C-B02C-2568ED19585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501438" y="9525"/>
              <a:ext cx="665163" cy="257175"/>
            </a:xfrm>
            <a:custGeom>
              <a:avLst/>
              <a:gdLst>
                <a:gd name="T0" fmla="*/ 140 w 140"/>
                <a:gd name="T1" fmla="*/ 54 h 54"/>
                <a:gd name="T2" fmla="*/ 0 w 140"/>
                <a:gd name="T3" fmla="*/ 0 h 54"/>
              </a:gdLst>
              <a:ahLst/>
              <a:cxnLst>
                <a:cxn ang="0">
                  <a:pos x="T0" y="T1"/>
                </a:cxn>
                <a:cxn ang="0">
                  <a:pos x="T2" y="T3"/>
                </a:cxn>
              </a:cxnLst>
              <a:rect l="0" t="0" r="r" b="b"/>
              <a:pathLst>
                <a:path w="140" h="54">
                  <a:moveTo>
                    <a:pt x="140" y="54"/>
                  </a:moveTo>
                  <a:cubicBezTo>
                    <a:pt x="95" y="34"/>
                    <a:pt x="48" y="16"/>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4F24A002-AFDE-4034-85BE-CBF005AE92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41013" y="5408613"/>
              <a:ext cx="1525588" cy="1435100"/>
            </a:xfrm>
            <a:custGeom>
              <a:avLst/>
              <a:gdLst>
                <a:gd name="T0" fmla="*/ 0 w 321"/>
                <a:gd name="T1" fmla="*/ 302 h 302"/>
                <a:gd name="T2" fmla="*/ 321 w 321"/>
                <a:gd name="T3" fmla="*/ 0 h 302"/>
              </a:gdLst>
              <a:ahLst/>
              <a:cxnLst>
                <a:cxn ang="0">
                  <a:pos x="T0" y="T1"/>
                </a:cxn>
                <a:cxn ang="0">
                  <a:pos x="T2" y="T3"/>
                </a:cxn>
              </a:cxnLst>
              <a:rect l="0" t="0" r="r" b="b"/>
              <a:pathLst>
                <a:path w="321" h="302">
                  <a:moveTo>
                    <a:pt x="0" y="302"/>
                  </a:moveTo>
                  <a:cubicBezTo>
                    <a:pt x="114" y="210"/>
                    <a:pt x="223" y="109"/>
                    <a:pt x="321"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36F0721E-B4B0-4A6C-A92C-F8DE92D3AC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244850" cy="6843713"/>
            </a:xfrm>
            <a:custGeom>
              <a:avLst/>
              <a:gdLst>
                <a:gd name="T0" fmla="*/ 683 w 683"/>
                <a:gd name="T1" fmla="*/ 0 h 1440"/>
                <a:gd name="T2" fmla="*/ 355 w 683"/>
                <a:gd name="T3" fmla="*/ 1440 h 1440"/>
              </a:gdLst>
              <a:ahLst/>
              <a:cxnLst>
                <a:cxn ang="0">
                  <a:pos x="T0" y="T1"/>
                </a:cxn>
                <a:cxn ang="0">
                  <a:pos x="T2" y="T3"/>
                </a:cxn>
              </a:cxnLst>
              <a:rect l="0" t="0" r="r" b="b"/>
              <a:pathLst>
                <a:path w="683" h="1440">
                  <a:moveTo>
                    <a:pt x="683" y="0"/>
                  </a:moveTo>
                  <a:cubicBezTo>
                    <a:pt x="258" y="256"/>
                    <a:pt x="0" y="1041"/>
                    <a:pt x="35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54D2DC98-69F8-4F2F-9D45-BDFFA5E2BB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802938" y="5518150"/>
              <a:ext cx="1363663" cy="1325563"/>
            </a:xfrm>
            <a:custGeom>
              <a:avLst/>
              <a:gdLst>
                <a:gd name="T0" fmla="*/ 0 w 287"/>
                <a:gd name="T1" fmla="*/ 279 h 279"/>
                <a:gd name="T2" fmla="*/ 287 w 287"/>
                <a:gd name="T3" fmla="*/ 0 h 279"/>
              </a:gdLst>
              <a:ahLst/>
              <a:cxnLst>
                <a:cxn ang="0">
                  <a:pos x="T0" y="T1"/>
                </a:cxn>
                <a:cxn ang="0">
                  <a:pos x="T2" y="T3"/>
                </a:cxn>
              </a:cxnLst>
              <a:rect l="0" t="0" r="r" b="b"/>
              <a:pathLst>
                <a:path w="287" h="279">
                  <a:moveTo>
                    <a:pt x="0" y="279"/>
                  </a:moveTo>
                  <a:cubicBezTo>
                    <a:pt x="101" y="193"/>
                    <a:pt x="198" y="100"/>
                    <a:pt x="287"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0A636E33-DC38-40B9-B941-037E5D8603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89000" y="0"/>
              <a:ext cx="3230563" cy="6843713"/>
            </a:xfrm>
            <a:custGeom>
              <a:avLst/>
              <a:gdLst>
                <a:gd name="T0" fmla="*/ 680 w 680"/>
                <a:gd name="T1" fmla="*/ 0 h 1440"/>
                <a:gd name="T2" fmla="*/ 337 w 680"/>
                <a:gd name="T3" fmla="*/ 1440 h 1440"/>
              </a:gdLst>
              <a:ahLst/>
              <a:cxnLst>
                <a:cxn ang="0">
                  <a:pos x="T0" y="T1"/>
                </a:cxn>
                <a:cxn ang="0">
                  <a:pos x="T2" y="T3"/>
                </a:cxn>
              </a:cxnLst>
              <a:rect l="0" t="0" r="r" b="b"/>
              <a:pathLst>
                <a:path w="680" h="1440">
                  <a:moveTo>
                    <a:pt x="680" y="0"/>
                  </a:moveTo>
                  <a:cubicBezTo>
                    <a:pt x="257" y="265"/>
                    <a:pt x="0" y="1026"/>
                    <a:pt x="337"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03D30690-68C2-4AEC-9789-1495D97E194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79150" y="5694363"/>
              <a:ext cx="1187450" cy="1149350"/>
            </a:xfrm>
            <a:custGeom>
              <a:avLst/>
              <a:gdLst>
                <a:gd name="T0" fmla="*/ 0 w 250"/>
                <a:gd name="T1" fmla="*/ 242 h 242"/>
                <a:gd name="T2" fmla="*/ 250 w 250"/>
                <a:gd name="T3" fmla="*/ 0 h 242"/>
              </a:gdLst>
              <a:ahLst/>
              <a:cxnLst>
                <a:cxn ang="0">
                  <a:pos x="T0" y="T1"/>
                </a:cxn>
                <a:cxn ang="0">
                  <a:pos x="T2" y="T3"/>
                </a:cxn>
              </a:cxnLst>
              <a:rect l="0" t="0" r="r" b="b"/>
              <a:pathLst>
                <a:path w="250" h="242">
                  <a:moveTo>
                    <a:pt x="0" y="242"/>
                  </a:moveTo>
                  <a:cubicBezTo>
                    <a:pt x="88" y="166"/>
                    <a:pt x="172" y="85"/>
                    <a:pt x="25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1020B1B9-821B-49FB-BDC9-57DA08CBC3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84188" y="0"/>
              <a:ext cx="3421063" cy="6843713"/>
            </a:xfrm>
            <a:custGeom>
              <a:avLst/>
              <a:gdLst>
                <a:gd name="T0" fmla="*/ 720 w 720"/>
                <a:gd name="T1" fmla="*/ 0 h 1440"/>
                <a:gd name="T2" fmla="*/ 362 w 720"/>
                <a:gd name="T3" fmla="*/ 1440 h 1440"/>
              </a:gdLst>
              <a:ahLst/>
              <a:cxnLst>
                <a:cxn ang="0">
                  <a:pos x="T0" y="T1"/>
                </a:cxn>
                <a:cxn ang="0">
                  <a:pos x="T2" y="T3"/>
                </a:cxn>
              </a:cxnLst>
              <a:rect l="0" t="0" r="r" b="b"/>
              <a:pathLst>
                <a:path w="720" h="1440">
                  <a:moveTo>
                    <a:pt x="720" y="0"/>
                  </a:moveTo>
                  <a:cubicBezTo>
                    <a:pt x="316" y="282"/>
                    <a:pt x="0" y="1018"/>
                    <a:pt x="362"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720EDCE4-8B18-413F-989E-E79628E5AF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87125" y="6049963"/>
              <a:ext cx="879475" cy="793750"/>
            </a:xfrm>
            <a:custGeom>
              <a:avLst/>
              <a:gdLst>
                <a:gd name="T0" fmla="*/ 0 w 185"/>
                <a:gd name="T1" fmla="*/ 167 h 167"/>
                <a:gd name="T2" fmla="*/ 185 w 185"/>
                <a:gd name="T3" fmla="*/ 0 h 167"/>
              </a:gdLst>
              <a:ahLst/>
              <a:cxnLst>
                <a:cxn ang="0">
                  <a:pos x="T0" y="T1"/>
                </a:cxn>
                <a:cxn ang="0">
                  <a:pos x="T2" y="T3"/>
                </a:cxn>
              </a:cxnLst>
              <a:rect l="0" t="0" r="r" b="b"/>
              <a:pathLst>
                <a:path w="185" h="167">
                  <a:moveTo>
                    <a:pt x="0" y="167"/>
                  </a:moveTo>
                  <a:cubicBezTo>
                    <a:pt x="63" y="114"/>
                    <a:pt x="125" y="58"/>
                    <a:pt x="185"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8563351E-0DDD-4FC8-8D0C-1E446E3C1B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8488" y="0"/>
              <a:ext cx="2717800" cy="6843713"/>
            </a:xfrm>
            <a:custGeom>
              <a:avLst/>
              <a:gdLst>
                <a:gd name="T0" fmla="*/ 572 w 572"/>
                <a:gd name="T1" fmla="*/ 0 h 1440"/>
                <a:gd name="T2" fmla="*/ 164 w 572"/>
                <a:gd name="T3" fmla="*/ 1440 h 1440"/>
              </a:gdLst>
              <a:ahLst/>
              <a:cxnLst>
                <a:cxn ang="0">
                  <a:pos x="T0" y="T1"/>
                </a:cxn>
                <a:cxn ang="0">
                  <a:pos x="T2" y="T3"/>
                </a:cxn>
              </a:cxnLst>
              <a:rect l="0" t="0" r="r" b="b"/>
              <a:pathLst>
                <a:path w="572" h="1440">
                  <a:moveTo>
                    <a:pt x="572" y="0"/>
                  </a:moveTo>
                  <a:cubicBezTo>
                    <a:pt x="213" y="320"/>
                    <a:pt x="0" y="979"/>
                    <a:pt x="164" y="1440"/>
                  </a:cubicBezTo>
                </a:path>
              </a:pathLst>
            </a:custGeom>
            <a:noFill/>
            <a:ln w="12700" cap="flat">
              <a:solidFill>
                <a:schemeClr val="tx1">
                  <a:alpha val="15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15E8B705-64E7-4513-B3CB-BF46C35732B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61938" y="0"/>
              <a:ext cx="2944813" cy="6843713"/>
            </a:xfrm>
            <a:custGeom>
              <a:avLst/>
              <a:gdLst>
                <a:gd name="T0" fmla="*/ 620 w 620"/>
                <a:gd name="T1" fmla="*/ 0 h 1440"/>
                <a:gd name="T2" fmla="*/ 186 w 620"/>
                <a:gd name="T3" fmla="*/ 1440 h 1440"/>
              </a:gdLst>
              <a:ahLst/>
              <a:cxnLst>
                <a:cxn ang="0">
                  <a:pos x="T0" y="T1"/>
                </a:cxn>
                <a:cxn ang="0">
                  <a:pos x="T2" y="T3"/>
                </a:cxn>
              </a:cxnLst>
              <a:rect l="0" t="0" r="r" b="b"/>
              <a:pathLst>
                <a:path w="620" h="1440">
                  <a:moveTo>
                    <a:pt x="620" y="0"/>
                  </a:moveTo>
                  <a:cubicBezTo>
                    <a:pt x="248" y="325"/>
                    <a:pt x="0" y="960"/>
                    <a:pt x="186" y="1440"/>
                  </a:cubicBezTo>
                </a:path>
              </a:pathLst>
            </a:custGeom>
            <a:noFill/>
            <a:ln w="9525" cap="flat">
              <a:solidFill>
                <a:schemeClr val="tx1">
                  <a:alpha val="15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30DAEE1C-EBB5-47F5-9E76-564FCFDBFC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17513" y="0"/>
              <a:ext cx="2403475" cy="6843713"/>
            </a:xfrm>
            <a:custGeom>
              <a:avLst/>
              <a:gdLst>
                <a:gd name="T0" fmla="*/ 506 w 506"/>
                <a:gd name="T1" fmla="*/ 0 h 1440"/>
                <a:gd name="T2" fmla="*/ 171 w 506"/>
                <a:gd name="T3" fmla="*/ 1440 h 1440"/>
              </a:gdLst>
              <a:ahLst/>
              <a:cxnLst>
                <a:cxn ang="0">
                  <a:pos x="T0" y="T1"/>
                </a:cxn>
                <a:cxn ang="0">
                  <a:pos x="T2" y="T3"/>
                </a:cxn>
              </a:cxnLst>
              <a:rect l="0" t="0" r="r" b="b"/>
              <a:pathLst>
                <a:path w="506" h="1440">
                  <a:moveTo>
                    <a:pt x="506" y="0"/>
                  </a:moveTo>
                  <a:cubicBezTo>
                    <a:pt x="109" y="356"/>
                    <a:pt x="0" y="943"/>
                    <a:pt x="171"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EDB255E9-A3E2-4098-99A1-FE38FAD15D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9525"/>
              <a:ext cx="1771650" cy="3198813"/>
            </a:xfrm>
            <a:custGeom>
              <a:avLst/>
              <a:gdLst>
                <a:gd name="T0" fmla="*/ 373 w 373"/>
                <a:gd name="T1" fmla="*/ 0 h 673"/>
                <a:gd name="T2" fmla="*/ 0 w 373"/>
                <a:gd name="T3" fmla="*/ 673 h 673"/>
              </a:gdLst>
              <a:ahLst/>
              <a:cxnLst>
                <a:cxn ang="0">
                  <a:pos x="T0" y="T1"/>
                </a:cxn>
                <a:cxn ang="0">
                  <a:pos x="T2" y="T3"/>
                </a:cxn>
              </a:cxnLst>
              <a:rect l="0" t="0" r="r" b="b"/>
              <a:pathLst>
                <a:path w="373" h="673">
                  <a:moveTo>
                    <a:pt x="373" y="0"/>
                  </a:moveTo>
                  <a:cubicBezTo>
                    <a:pt x="175" y="183"/>
                    <a:pt x="51" y="409"/>
                    <a:pt x="0" y="673"/>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D2507F2A-27AF-4833-8273-5FC9A98863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763" y="6016625"/>
              <a:ext cx="214313" cy="827088"/>
            </a:xfrm>
            <a:custGeom>
              <a:avLst/>
              <a:gdLst>
                <a:gd name="T0" fmla="*/ 0 w 45"/>
                <a:gd name="T1" fmla="*/ 0 h 174"/>
                <a:gd name="T2" fmla="*/ 45 w 45"/>
                <a:gd name="T3" fmla="*/ 174 h 174"/>
              </a:gdLst>
              <a:ahLst/>
              <a:cxnLst>
                <a:cxn ang="0">
                  <a:pos x="T0" y="T1"/>
                </a:cxn>
                <a:cxn ang="0">
                  <a:pos x="T2" y="T3"/>
                </a:cxn>
              </a:cxnLst>
              <a:rect l="0" t="0" r="r" b="b"/>
              <a:pathLst>
                <a:path w="45" h="174">
                  <a:moveTo>
                    <a:pt x="0" y="0"/>
                  </a:moveTo>
                  <a:cubicBezTo>
                    <a:pt x="11" y="59"/>
                    <a:pt x="26" y="118"/>
                    <a:pt x="45" y="174"/>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8DFB8904-0CB8-45AD-ABD2-F7A582365E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0"/>
              <a:ext cx="1562100" cy="2228850"/>
            </a:xfrm>
            <a:custGeom>
              <a:avLst/>
              <a:gdLst>
                <a:gd name="T0" fmla="*/ 329 w 329"/>
                <a:gd name="T1" fmla="*/ 0 h 469"/>
                <a:gd name="T2" fmla="*/ 0 w 329"/>
                <a:gd name="T3" fmla="*/ 469 h 469"/>
              </a:gdLst>
              <a:ahLst/>
              <a:cxnLst>
                <a:cxn ang="0">
                  <a:pos x="T0" y="T1"/>
                </a:cxn>
                <a:cxn ang="0">
                  <a:pos x="T2" y="T3"/>
                </a:cxn>
              </a:cxnLst>
              <a:rect l="0" t="0" r="r" b="b"/>
              <a:pathLst>
                <a:path w="329" h="469">
                  <a:moveTo>
                    <a:pt x="329" y="0"/>
                  </a:moveTo>
                  <a:cubicBezTo>
                    <a:pt x="189" y="133"/>
                    <a:pt x="69" y="288"/>
                    <a:pt x="0" y="469"/>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nvPr>
        </p:nvGraphicFramePr>
        <p:xfrm>
          <a:off x="807722" y="1178351"/>
          <a:ext cx="10576558" cy="49880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ZoneTexte 1">
            <a:extLst>
              <a:ext uri="{FF2B5EF4-FFF2-40B4-BE49-F238E27FC236}">
                <a16:creationId xmlns:a16="http://schemas.microsoft.com/office/drawing/2014/main" id="{232A2D28-A06C-48FD-ABB4-EB7E27B84308}"/>
              </a:ext>
            </a:extLst>
          </p:cNvPr>
          <p:cNvSpPr txBox="1"/>
          <p:nvPr/>
        </p:nvSpPr>
        <p:spPr>
          <a:xfrm>
            <a:off x="3464653" y="729842"/>
            <a:ext cx="4822098" cy="830997"/>
          </a:xfrm>
          <a:prstGeom prst="rect">
            <a:avLst/>
          </a:prstGeom>
          <a:noFill/>
        </p:spPr>
        <p:txBody>
          <a:bodyPr wrap="square" rtlCol="0">
            <a:spAutoFit/>
          </a:bodyPr>
          <a:lstStyle/>
          <a:p>
            <a:r>
              <a:rPr lang="fr-FR" sz="4800" dirty="0"/>
              <a:t>RAPPEL</a:t>
            </a:r>
          </a:p>
        </p:txBody>
      </p:sp>
    </p:spTree>
    <p:extLst>
      <p:ext uri="{BB962C8B-B14F-4D97-AF65-F5344CB8AC3E}">
        <p14:creationId xmlns:p14="http://schemas.microsoft.com/office/powerpoint/2010/main" val="38920754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55" name="Rectangle 54">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9" name="Rectangle 58">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a:bodyPr>
          <a:lstStyle/>
          <a:p>
            <a:pPr marL="0" marR="0" lvl="0" indent="-228600" fontAlgn="auto">
              <a:lnSpc>
                <a:spcPct val="110000"/>
              </a:lnSpc>
              <a:spcBef>
                <a:spcPts val="0"/>
              </a:spcBef>
              <a:spcAft>
                <a:spcPts val="600"/>
              </a:spcAft>
              <a:buClr>
                <a:schemeClr val="accent1"/>
              </a:buClr>
              <a:buSzPct val="100000"/>
              <a:buFont typeface="Arial" panose="020B0604020202020204" pitchFamily="34" charset="0"/>
              <a:buChar char="•"/>
              <a:tabLst/>
              <a:defRPr/>
            </a:pPr>
            <a:endParaRPr kumimoji="0" lang="en-US" b="0" i="0" u="none" strike="noStrike" cap="none" spc="0" normalizeH="0" baseline="0" noProof="0" dirty="0">
              <a:ln>
                <a:noFill/>
              </a:ln>
              <a:uLnTx/>
              <a:uFillTx/>
            </a:endParaRPr>
          </a:p>
          <a:p>
            <a:pPr marL="0" marR="0" lvl="0" indent="-228600" fontAlgn="auto">
              <a:lnSpc>
                <a:spcPct val="110000"/>
              </a:lnSpc>
              <a:spcBef>
                <a:spcPts val="0"/>
              </a:spcBef>
              <a:spcAft>
                <a:spcPts val="600"/>
              </a:spcAft>
              <a:buClr>
                <a:schemeClr val="accent1"/>
              </a:buClr>
              <a:buSzPct val="100000"/>
              <a:buFont typeface="Arial" panose="020B0604020202020204" pitchFamily="34" charset="0"/>
              <a:buChar char="•"/>
              <a:tabLst/>
              <a:defRPr/>
            </a:pPr>
            <a:endParaRPr kumimoji="0" lang="en-US" b="0" i="0" u="none" strike="noStrike" cap="none" spc="0" normalizeH="0" baseline="0" noProof="0" dirty="0">
              <a:ln>
                <a:noFill/>
              </a:ln>
              <a:uLnTx/>
              <a:uFillTx/>
            </a:endParaRPr>
          </a:p>
        </p:txBody>
      </p:sp>
      <p:pic>
        <p:nvPicPr>
          <p:cNvPr id="65" name="Picture 64">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pic>
        <p:nvPicPr>
          <p:cNvPr id="3074" name="Picture 2" descr="Résultat de recherche d'images pour &quot;liste plan comptable&quot;">
            <a:extLst>
              <a:ext uri="{FF2B5EF4-FFF2-40B4-BE49-F238E27FC236}">
                <a16:creationId xmlns:a16="http://schemas.microsoft.com/office/drawing/2014/main" id="{5773E1FE-EFF0-45D9-823D-1B322AAF21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9089" y="1119110"/>
            <a:ext cx="8053519" cy="38822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8482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1" name="Rectangle 90">
            <a:extLst>
              <a:ext uri="{FF2B5EF4-FFF2-40B4-BE49-F238E27FC236}">
                <a16:creationId xmlns:a16="http://schemas.microsoft.com/office/drawing/2014/main" id="{526E0BFB-CDF1-4990-8C11-AC849311E0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16289" r="1" b="1"/>
          <a:stretch/>
        </p:blipFill>
        <p:spPr>
          <a:xfrm>
            <a:off x="-2" y="10"/>
            <a:ext cx="8668512" cy="6857990"/>
          </a:xfrm>
          <a:prstGeom prst="rect">
            <a:avLst/>
          </a:prstGeom>
        </p:spPr>
      </p:pic>
      <p:sp>
        <p:nvSpPr>
          <p:cNvPr id="93" name="Rectangle 92">
            <a:extLst>
              <a:ext uri="{FF2B5EF4-FFF2-40B4-BE49-F238E27FC236}">
                <a16:creationId xmlns:a16="http://schemas.microsoft.com/office/drawing/2014/main" id="{6069A1F8-9BEB-4786-9694-FC48B2D75D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788244" y="0"/>
            <a:ext cx="9403756" cy="6858000"/>
          </a:xfrm>
          <a:prstGeom prst="rect">
            <a:avLst/>
          </a:prstGeom>
          <a:gradFill>
            <a:gsLst>
              <a:gs pos="58000">
                <a:schemeClr val="bg1"/>
              </a:gs>
              <a:gs pos="30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7848600" y="1122363"/>
            <a:ext cx="4023360" cy="3204134"/>
          </a:xfrm>
          <a:prstGeom prst="ellipse">
            <a:avLst/>
          </a:prstGeom>
        </p:spPr>
        <p:txBody>
          <a:bodyPr vert="horz" lIns="91440" tIns="45720" rIns="91440" bIns="45720" rtlCol="0" anchor="b">
            <a:normAutofit fontScale="90000"/>
          </a:bodyPr>
          <a:lstStyle/>
          <a:p>
            <a:br>
              <a:rPr lang="en-US" dirty="0"/>
            </a:br>
            <a:r>
              <a:rPr lang="en-US" dirty="0"/>
              <a:t>Le </a:t>
            </a:r>
            <a:r>
              <a:rPr lang="en-US" dirty="0" err="1"/>
              <a:t>compte</a:t>
            </a:r>
            <a:r>
              <a:rPr lang="en-US" dirty="0"/>
              <a:t> de </a:t>
            </a:r>
            <a:r>
              <a:rPr lang="en-US" dirty="0" err="1"/>
              <a:t>résultat</a:t>
            </a:r>
            <a:br>
              <a:rPr lang="en-US" dirty="0"/>
            </a:br>
            <a:endParaRPr lang="en-US" dirty="0"/>
          </a:p>
        </p:txBody>
      </p:sp>
      <p:sp>
        <p:nvSpPr>
          <p:cNvPr id="95" name="Rectangle 9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8130540"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97" name="Rectangle 9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51648" y="4546920"/>
            <a:ext cx="402336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ZoneTexte 4">
            <a:extLst>
              <a:ext uri="{FF2B5EF4-FFF2-40B4-BE49-F238E27FC236}">
                <a16:creationId xmlns:a16="http://schemas.microsoft.com/office/drawing/2014/main" id="{DFEA2082-E7DE-4453-8158-54F380B94285}"/>
              </a:ext>
            </a:extLst>
          </p:cNvPr>
          <p:cNvSpPr txBox="1"/>
          <p:nvPr/>
        </p:nvSpPr>
        <p:spPr>
          <a:xfrm>
            <a:off x="640080" y="2872899"/>
            <a:ext cx="4243589" cy="332066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en-US" sz="2200" dirty="0"/>
          </a:p>
          <a:p>
            <a:pPr indent="-228600">
              <a:lnSpc>
                <a:spcPct val="90000"/>
              </a:lnSpc>
              <a:spcAft>
                <a:spcPts val="600"/>
              </a:spcAft>
              <a:buFont typeface="Arial" panose="020B0604020202020204" pitchFamily="34" charset="0"/>
              <a:buChar char="•"/>
            </a:pPr>
            <a:endParaRPr lang="en-US" sz="2200" dirty="0"/>
          </a:p>
          <a:p>
            <a:pPr indent="-228600">
              <a:lnSpc>
                <a:spcPct val="90000"/>
              </a:lnSpc>
              <a:spcAft>
                <a:spcPts val="600"/>
              </a:spcAft>
              <a:buFont typeface="Arial" panose="020B0604020202020204" pitchFamily="34" charset="0"/>
              <a:buChar char="•"/>
            </a:pPr>
            <a:endParaRPr lang="en-US" sz="2200" dirty="0"/>
          </a:p>
        </p:txBody>
      </p:sp>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708826299"/>
      </p:ext>
    </p:extLst>
  </p:cSld>
  <p:clrMapOvr>
    <a:overrideClrMapping bg1="dk1" tx1="lt1" bg2="dk2" tx2="lt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7E773EB-1EC1-4E49-9DE2-E6F4604972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0391"/>
            <a:ext cx="12192000" cy="1943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a:extLst>
              <a:ext uri="{FF2B5EF4-FFF2-40B4-BE49-F238E27FC236}">
                <a16:creationId xmlns:a16="http://schemas.microsoft.com/office/drawing/2014/main" id="{55455007-8AF7-4CFF-8B0D-381E697B6724}"/>
              </a:ext>
            </a:extLst>
          </p:cNvPr>
          <p:cNvSpPr>
            <a:spLocks noGrp="1"/>
          </p:cNvSpPr>
          <p:nvPr>
            <p:ph type="title"/>
          </p:nvPr>
        </p:nvSpPr>
        <p:spPr>
          <a:xfrm>
            <a:off x="391378" y="320675"/>
            <a:ext cx="11407487" cy="1325563"/>
          </a:xfrm>
        </p:spPr>
        <p:txBody>
          <a:bodyPr>
            <a:normAutofit/>
          </a:bodyPr>
          <a:lstStyle/>
          <a:p>
            <a:pPr lvl="0"/>
            <a:r>
              <a:rPr lang="fr-FR" sz="5400" dirty="0"/>
              <a:t>Rappel : deux types de comptabilisation</a:t>
            </a:r>
          </a:p>
        </p:txBody>
      </p:sp>
      <p:graphicFrame>
        <p:nvGraphicFramePr>
          <p:cNvPr id="5" name="Espace réservé du contenu 2">
            <a:extLst>
              <a:ext uri="{FF2B5EF4-FFF2-40B4-BE49-F238E27FC236}">
                <a16:creationId xmlns:a16="http://schemas.microsoft.com/office/drawing/2014/main" id="{0C899C7D-CFDA-4D32-B2E9-07B40C3BB1B2}"/>
              </a:ext>
            </a:extLst>
          </p:cNvPr>
          <p:cNvGraphicFramePr>
            <a:graphicFrameLocks noGrp="1"/>
          </p:cNvGraphicFramePr>
          <p:nvPr>
            <p:ph idx="1"/>
            <p:extLst>
              <p:ext uri="{D42A27DB-BD31-4B8C-83A1-F6EECF244321}">
                <p14:modId xmlns:p14="http://schemas.microsoft.com/office/powerpoint/2010/main" val="164386917"/>
              </p:ext>
            </p:extLst>
          </p:nvPr>
        </p:nvGraphicFramePr>
        <p:xfrm>
          <a:off x="391379" y="1976293"/>
          <a:ext cx="11407487"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17582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e </a:t>
            </a:r>
            <a:r>
              <a:rPr lang="en-US" b="0" i="0" kern="1200" cap="all" dirty="0" err="1">
                <a:solidFill>
                  <a:schemeClr val="tx1"/>
                </a:solidFill>
                <a:effectLst/>
                <a:latin typeface="+mj-lt"/>
                <a:ea typeface="+mj-ea"/>
                <a:cs typeface="+mj-cs"/>
              </a:rPr>
              <a:t>compte</a:t>
            </a:r>
            <a:r>
              <a:rPr lang="en-US" b="0" i="0" kern="1200" cap="all" dirty="0">
                <a:solidFill>
                  <a:schemeClr val="tx1"/>
                </a:solidFill>
                <a:effectLst/>
                <a:latin typeface="+mj-lt"/>
                <a:ea typeface="+mj-ea"/>
                <a:cs typeface="+mj-cs"/>
              </a:rPr>
              <a:t> de </a:t>
            </a:r>
            <a:r>
              <a:rPr lang="en-US" b="0" i="0" kern="1200" cap="all" dirty="0" err="1">
                <a:solidFill>
                  <a:schemeClr val="tx1"/>
                </a:solidFill>
                <a:effectLst/>
                <a:latin typeface="+mj-lt"/>
                <a:ea typeface="+mj-ea"/>
                <a:cs typeface="+mj-cs"/>
              </a:rPr>
              <a:t>résultat</a:t>
            </a:r>
            <a:endParaRPr lang="en-US" b="0" i="0" kern="1200" cap="all" dirty="0">
              <a:solidFill>
                <a:schemeClr val="tx1"/>
              </a:solidFill>
              <a:effectLst/>
              <a:latin typeface="+mj-lt"/>
              <a:ea typeface="+mj-ea"/>
              <a:cs typeface="+mj-cs"/>
            </a:endParaRPr>
          </a:p>
        </p:txBody>
      </p:sp>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fontScale="92500"/>
          </a:bodyPr>
          <a:lstStyle/>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sz="2400" dirty="0"/>
              <a:t>Article L 123-13 du Code de Commerce : « Le compte de résultat récapitule les produits et les charges de l’exercice,…. Il fait apparaître par différence, après déduction des amortissements et des provisions, le bénéfice ou la perte de l’exercice. Les produits et les charges classés par catégorie, doivent être présentés soit sous forme de tableaux, soit sous forme de liste. » </a:t>
            </a:r>
            <a:endParaRPr kumimoji="0" lang="en-US" sz="2400" b="0" i="0" u="none" strike="noStrike" cap="none" spc="0" normalizeH="0" baseline="0" noProof="0" dirty="0">
              <a:ln>
                <a:noFill/>
              </a:ln>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 name="ZoneTexte 3">
            <a:extLst>
              <a:ext uri="{FF2B5EF4-FFF2-40B4-BE49-F238E27FC236}">
                <a16:creationId xmlns:a16="http://schemas.microsoft.com/office/drawing/2014/main" id="{B907A768-CC25-4A4B-8C93-DA72B4C4D5E3}"/>
              </a:ext>
            </a:extLst>
          </p:cNvPr>
          <p:cNvSpPr txBox="1"/>
          <p:nvPr/>
        </p:nvSpPr>
        <p:spPr>
          <a:xfrm>
            <a:off x="560673" y="3938277"/>
            <a:ext cx="10836333"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7286584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e </a:t>
            </a:r>
            <a:r>
              <a:rPr lang="en-US" b="0" i="0" kern="1200" cap="all" dirty="0" err="1">
                <a:solidFill>
                  <a:schemeClr val="tx1"/>
                </a:solidFill>
                <a:effectLst/>
                <a:latin typeface="+mj-lt"/>
                <a:ea typeface="+mj-ea"/>
                <a:cs typeface="+mj-cs"/>
              </a:rPr>
              <a:t>compte</a:t>
            </a:r>
            <a:r>
              <a:rPr lang="en-US" b="0" i="0" kern="1200" cap="all" dirty="0">
                <a:solidFill>
                  <a:schemeClr val="tx1"/>
                </a:solidFill>
                <a:effectLst/>
                <a:latin typeface="+mj-lt"/>
                <a:ea typeface="+mj-ea"/>
                <a:cs typeface="+mj-cs"/>
              </a:rPr>
              <a:t> de </a:t>
            </a:r>
            <a:r>
              <a:rPr lang="en-US" b="0" i="0" kern="1200" cap="all" dirty="0" err="1">
                <a:solidFill>
                  <a:schemeClr val="tx1"/>
                </a:solidFill>
                <a:effectLst/>
                <a:latin typeface="+mj-lt"/>
                <a:ea typeface="+mj-ea"/>
                <a:cs typeface="+mj-cs"/>
              </a:rPr>
              <a:t>résultat</a:t>
            </a:r>
            <a:endParaRPr lang="en-US" b="0" i="0" kern="1200" cap="all" dirty="0">
              <a:solidFill>
                <a:schemeClr val="tx1"/>
              </a:solidFill>
              <a:effectLst/>
              <a:latin typeface="+mj-lt"/>
              <a:ea typeface="+mj-ea"/>
              <a:cs typeface="+mj-cs"/>
            </a:endParaRPr>
          </a:p>
        </p:txBody>
      </p:sp>
      <p:sp>
        <p:nvSpPr>
          <p:cNvPr id="10" name="ZoneTexte 9">
            <a:extLst>
              <a:ext uri="{FF2B5EF4-FFF2-40B4-BE49-F238E27FC236}">
                <a16:creationId xmlns:a16="http://schemas.microsoft.com/office/drawing/2014/main" id="{2104DD9E-7F53-465D-8561-41BB61362ACA}"/>
              </a:ext>
            </a:extLst>
          </p:cNvPr>
          <p:cNvSpPr txBox="1"/>
          <p:nvPr/>
        </p:nvSpPr>
        <p:spPr>
          <a:xfrm>
            <a:off x="1145219" y="2139519"/>
            <a:ext cx="9712251" cy="2950676"/>
          </a:xfrm>
          <a:prstGeom prst="rect">
            <a:avLst/>
          </a:prstGeom>
        </p:spPr>
        <p:txBody>
          <a:bodyPr vert="horz" lIns="91440" tIns="45720" rIns="91440" bIns="45720" rtlCol="0" anchor="t">
            <a:normAutofit fontScale="92500" lnSpcReduction="20000"/>
          </a:bodyPr>
          <a:lstStyle/>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sz="2400" dirty="0"/>
              <a:t>Article 130-3 du PCG : « Le compte de résultat récapitule les produits et les charges de l’exercice, sans qu’il soit tenu compte de leur </a:t>
            </a:r>
            <a:r>
              <a:rPr lang="fr-FR" sz="2400" dirty="0">
                <a:highlight>
                  <a:srgbClr val="FFFF00"/>
                </a:highlight>
              </a:rPr>
              <a:t>date de paiement ou d’encaissement.</a:t>
            </a:r>
            <a:r>
              <a:rPr lang="fr-FR" sz="2400" dirty="0"/>
              <a:t> Selon le régime juridique de l’entité, le solde des charges et des produits constitue : • le bénéfice ou la perte de l’exercice • l’excédent ou l’insuffisance de ressource. </a:t>
            </a:r>
          </a:p>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endParaRPr lang="fr-FR" sz="2400" dirty="0"/>
          </a:p>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fr-FR" sz="2400" dirty="0"/>
              <a:t>Aucune compensation ne peut être opérée entre les postes de charges et de produits</a:t>
            </a:r>
            <a:endParaRPr kumimoji="0" lang="en-US" sz="2400" b="0" i="0" u="none" strike="noStrike" cap="none" spc="0" normalizeH="0" baseline="0" noProof="0" dirty="0">
              <a:ln>
                <a:noFill/>
              </a:ln>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7184939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es charges – art 221-1 PCG</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145219" y="2139519"/>
            <a:ext cx="9712251" cy="2950676"/>
          </a:xfrm>
          <a:prstGeom prst="rect">
            <a:avLst/>
          </a:prstGeom>
        </p:spPr>
        <p:txBody>
          <a:bodyPr vert="horz" lIns="91440" tIns="45720" rIns="91440" bIns="45720" rtlCol="0" anchor="t">
            <a:normAutofit/>
          </a:bodyPr>
          <a:lstStyle/>
          <a:p>
            <a:pPr marR="0" lvl="0" fontAlgn="auto">
              <a:lnSpc>
                <a:spcPct val="120000"/>
              </a:lnSpc>
              <a:spcBef>
                <a:spcPts val="0"/>
              </a:spcBef>
              <a:spcAft>
                <a:spcPts val="600"/>
              </a:spcAft>
              <a:buClr>
                <a:schemeClr val="accent1"/>
              </a:buClr>
              <a:buSzPct val="100000"/>
              <a:tabLst/>
              <a:defRPr/>
            </a:pPr>
            <a:r>
              <a:rPr lang="fr-FR" sz="2400" dirty="0"/>
              <a:t>• les sommes ou valeurs versées ou à verser, en contrepartie de marchandises, approvisionnements, travaux et services consommés par l’entité </a:t>
            </a:r>
          </a:p>
          <a:p>
            <a:pPr marR="0" lvl="0" fontAlgn="auto">
              <a:lnSpc>
                <a:spcPct val="120000"/>
              </a:lnSpc>
              <a:spcBef>
                <a:spcPts val="0"/>
              </a:spcBef>
              <a:spcAft>
                <a:spcPts val="600"/>
              </a:spcAft>
              <a:buClr>
                <a:schemeClr val="accent1"/>
              </a:buClr>
              <a:buSzPct val="100000"/>
              <a:tabLst/>
              <a:defRPr/>
            </a:pPr>
            <a:r>
              <a:rPr lang="fr-FR" sz="2400" dirty="0"/>
              <a:t>…</a:t>
            </a:r>
          </a:p>
          <a:p>
            <a:pPr marR="0" lvl="0" fontAlgn="auto">
              <a:lnSpc>
                <a:spcPct val="120000"/>
              </a:lnSpc>
              <a:spcBef>
                <a:spcPts val="0"/>
              </a:spcBef>
              <a:spcAft>
                <a:spcPts val="600"/>
              </a:spcAft>
              <a:buClr>
                <a:schemeClr val="accent1"/>
              </a:buClr>
              <a:buSzPct val="100000"/>
              <a:tabLst/>
              <a:defRPr/>
            </a:pPr>
            <a:r>
              <a:rPr lang="fr-FR" sz="2400" dirty="0"/>
              <a:t>• les dotations aux amortissements, dépréciations et provisions, </a:t>
            </a:r>
            <a:endParaRPr kumimoji="0" lang="en-US" sz="2400" b="0" i="0" u="none" strike="noStrike" cap="none" spc="0" normalizeH="0" baseline="0" noProof="0" dirty="0">
              <a:ln>
                <a:noFill/>
              </a:ln>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4557806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7464614" y="1783959"/>
            <a:ext cx="4087306" cy="2889114"/>
          </a:xfrm>
          <a:prstGeom prst="ellipse">
            <a:avLst/>
          </a:prstGeom>
        </p:spPr>
        <p:txBody>
          <a:bodyPr vert="horz" lIns="91440" tIns="45720" rIns="91440" bIns="45720" rtlCol="0" anchor="b">
            <a:normAutofit/>
          </a:bodyPr>
          <a:lstStyle/>
          <a:p>
            <a:r>
              <a:rPr lang="en-US" sz="3400" b="0" i="0" dirty="0">
                <a:effectLst/>
              </a:rPr>
              <a:t>La </a:t>
            </a:r>
            <a:r>
              <a:rPr lang="en-US" sz="3400" b="1" i="0" dirty="0" err="1">
                <a:effectLst/>
              </a:rPr>
              <a:t>comptabilité</a:t>
            </a:r>
            <a:br>
              <a:rPr lang="en-US" sz="3400" b="1" i="0" dirty="0">
                <a:effectLst/>
              </a:rPr>
            </a:br>
            <a:r>
              <a:rPr lang="en-US" sz="3400" b="1" i="0" dirty="0">
                <a:effectLst/>
              </a:rPr>
              <a:t> : un cadre </a:t>
            </a:r>
            <a:r>
              <a:rPr lang="en-US" sz="3400" b="1" i="0" dirty="0" err="1">
                <a:effectLst/>
              </a:rPr>
              <a:t>règlementaire</a:t>
            </a:r>
            <a:endParaRPr lang="en-US" sz="3400" dirty="0"/>
          </a:p>
        </p:txBody>
      </p:sp>
      <p:sp>
        <p:nvSpPr>
          <p:cNvPr id="40" name="Freeform: Shape 39">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6" name="Picture 35" descr="Calculatrice et bloc-notes">
            <a:extLst>
              <a:ext uri="{FF2B5EF4-FFF2-40B4-BE49-F238E27FC236}">
                <a16:creationId xmlns:a16="http://schemas.microsoft.com/office/drawing/2014/main" id="{E19A54F0-B20E-4F8C-9128-4269DFE89C53}"/>
              </a:ext>
            </a:extLst>
          </p:cNvPr>
          <p:cNvPicPr>
            <a:picLocks noChangeAspect="1"/>
          </p:cNvPicPr>
          <p:nvPr/>
        </p:nvPicPr>
        <p:blipFill rotWithShape="1">
          <a:blip r:embed="rId4"/>
          <a:srcRect l="30658" r="932" b="-1"/>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 name="Rectangle 2">
            <a:extLst>
              <a:ext uri="{FF2B5EF4-FFF2-40B4-BE49-F238E27FC236}">
                <a16:creationId xmlns:a16="http://schemas.microsoft.com/office/drawing/2014/main" id="{79900381-058A-49D1-91B1-63D7DD95F910}"/>
              </a:ext>
            </a:extLst>
          </p:cNvPr>
          <p:cNvSpPr/>
          <p:nvPr/>
        </p:nvSpPr>
        <p:spPr>
          <a:xfrm>
            <a:off x="1179226" y="1591878"/>
            <a:ext cx="10355636" cy="907941"/>
          </a:xfrm>
          <a:prstGeom prst="rect">
            <a:avLst/>
          </a:prstGeom>
        </p:spPr>
        <p:txBody>
          <a:bodyPr wrap="square">
            <a:spAutoFit/>
          </a:bodyPr>
          <a:lstStyle/>
          <a:p>
            <a:pPr>
              <a:spcAft>
                <a:spcPts val="600"/>
              </a:spcAft>
            </a:pPr>
            <a:endParaRPr lang="fr-FR" sz="2400"/>
          </a:p>
          <a:p>
            <a:pPr>
              <a:spcAft>
                <a:spcPts val="600"/>
              </a:spcAft>
            </a:pPr>
            <a:endParaRPr lang="fr-FR" sz="2400"/>
          </a:p>
        </p:txBody>
      </p:sp>
    </p:spTree>
    <p:extLst>
      <p:ext uri="{BB962C8B-B14F-4D97-AF65-F5344CB8AC3E}">
        <p14:creationId xmlns:p14="http://schemas.microsoft.com/office/powerpoint/2010/main" val="3843576302"/>
      </p:ext>
    </p:extLst>
  </p:cSld>
  <p:clrMapOvr>
    <a:overrideClrMapping bg1="dk1" tx1="lt1" bg2="dk2" tx2="lt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es </a:t>
            </a:r>
            <a:r>
              <a:rPr lang="en-US" b="0" i="0" kern="1200" cap="all" dirty="0" err="1">
                <a:solidFill>
                  <a:schemeClr val="tx1"/>
                </a:solidFill>
                <a:effectLst/>
                <a:latin typeface="+mj-lt"/>
                <a:ea typeface="+mj-ea"/>
                <a:cs typeface="+mj-cs"/>
              </a:rPr>
              <a:t>Produits</a:t>
            </a:r>
            <a:r>
              <a:rPr lang="en-US" b="0" i="0" kern="1200" cap="all" dirty="0">
                <a:solidFill>
                  <a:schemeClr val="tx1"/>
                </a:solidFill>
                <a:effectLst/>
                <a:latin typeface="+mj-lt"/>
                <a:ea typeface="+mj-ea"/>
                <a:cs typeface="+mj-cs"/>
              </a:rPr>
              <a:t> – Article 222-1 du PCG</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145219" y="2139519"/>
            <a:ext cx="9712251" cy="2950676"/>
          </a:xfrm>
          <a:prstGeom prst="rect">
            <a:avLst/>
          </a:prstGeom>
        </p:spPr>
        <p:txBody>
          <a:bodyPr vert="horz" lIns="91440" tIns="45720" rIns="91440" bIns="45720" rtlCol="0" anchor="t">
            <a:normAutofit fontScale="92500" lnSpcReduction="20000"/>
          </a:bodyPr>
          <a:lstStyle/>
          <a:p>
            <a:pPr marR="0" lvl="0" fontAlgn="auto">
              <a:lnSpc>
                <a:spcPct val="120000"/>
              </a:lnSpc>
              <a:spcBef>
                <a:spcPts val="0"/>
              </a:spcBef>
              <a:spcAft>
                <a:spcPts val="600"/>
              </a:spcAft>
              <a:buClr>
                <a:schemeClr val="accent1"/>
              </a:buClr>
              <a:buSzPct val="100000"/>
              <a:tabLst/>
              <a:defRPr/>
            </a:pPr>
            <a:r>
              <a:rPr lang="fr-FR" sz="2400" dirty="0"/>
              <a:t>• les sommes ou valeurs reçues ou à recevoir, en contrepartie de la fourniture par l’entité de biens, travaux, services sans contrepartie,</a:t>
            </a:r>
          </a:p>
          <a:p>
            <a:pPr marR="0" lvl="0" fontAlgn="auto">
              <a:lnSpc>
                <a:spcPct val="120000"/>
              </a:lnSpc>
              <a:spcBef>
                <a:spcPts val="0"/>
              </a:spcBef>
              <a:spcAft>
                <a:spcPts val="600"/>
              </a:spcAft>
              <a:buClr>
                <a:schemeClr val="accent1"/>
              </a:buClr>
              <a:buSzPct val="100000"/>
              <a:tabLst/>
              <a:defRPr/>
            </a:pPr>
            <a:r>
              <a:rPr lang="fr-FR" sz="2400" dirty="0"/>
              <a:t>• la production stockée ou déstockée au cours de l’exercice, la production immobilisée, </a:t>
            </a:r>
          </a:p>
          <a:p>
            <a:pPr marR="0" lvl="0" fontAlgn="auto">
              <a:lnSpc>
                <a:spcPct val="120000"/>
              </a:lnSpc>
              <a:spcBef>
                <a:spcPts val="0"/>
              </a:spcBef>
              <a:spcAft>
                <a:spcPts val="600"/>
              </a:spcAft>
              <a:buClr>
                <a:schemeClr val="accent1"/>
              </a:buClr>
              <a:buSzPct val="100000"/>
              <a:tabLst/>
              <a:defRPr/>
            </a:pPr>
            <a:r>
              <a:rPr lang="fr-FR" sz="2400" dirty="0"/>
              <a:t>• les reprises sur amortissements, dépréciations et provisions, </a:t>
            </a:r>
          </a:p>
          <a:p>
            <a:pPr marR="0" lvl="0" fontAlgn="auto">
              <a:lnSpc>
                <a:spcPct val="120000"/>
              </a:lnSpc>
              <a:spcBef>
                <a:spcPts val="0"/>
              </a:spcBef>
              <a:spcAft>
                <a:spcPts val="600"/>
              </a:spcAft>
              <a:buClr>
                <a:schemeClr val="accent1"/>
              </a:buClr>
              <a:buSzPct val="100000"/>
              <a:tabLst/>
              <a:defRPr/>
            </a:pPr>
            <a:r>
              <a:rPr lang="fr-FR" sz="2400" dirty="0"/>
              <a:t>• les transferts de charges, </a:t>
            </a:r>
          </a:p>
          <a:p>
            <a:pPr marR="0" lvl="0" fontAlgn="auto">
              <a:lnSpc>
                <a:spcPct val="120000"/>
              </a:lnSpc>
              <a:spcBef>
                <a:spcPts val="0"/>
              </a:spcBef>
              <a:spcAft>
                <a:spcPts val="600"/>
              </a:spcAft>
              <a:buClr>
                <a:schemeClr val="accent1"/>
              </a:buClr>
              <a:buSzPct val="100000"/>
              <a:tabLst/>
              <a:defRPr/>
            </a:pPr>
            <a:r>
              <a:rPr lang="fr-FR" sz="2400" dirty="0"/>
              <a:t>• le prix de cession des éléments d’actif cédés, … » … » </a:t>
            </a:r>
            <a:endParaRPr kumimoji="0" lang="en-US" sz="2400" b="0" i="0" u="none" strike="noStrike" cap="none" spc="0" normalizeH="0" baseline="0" noProof="0" dirty="0">
              <a:ln>
                <a:noFill/>
              </a:ln>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119728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e </a:t>
            </a:r>
            <a:r>
              <a:rPr lang="en-US" b="0" i="0" kern="1200" cap="all" dirty="0" err="1">
                <a:solidFill>
                  <a:schemeClr val="tx1"/>
                </a:solidFill>
                <a:effectLst/>
                <a:latin typeface="+mj-lt"/>
                <a:ea typeface="+mj-ea"/>
                <a:cs typeface="+mj-cs"/>
              </a:rPr>
              <a:t>résultat</a:t>
            </a:r>
            <a:r>
              <a:rPr lang="en-US" b="0" i="0" kern="1200" cap="all" dirty="0">
                <a:solidFill>
                  <a:schemeClr val="tx1"/>
                </a:solidFill>
                <a:effectLst/>
                <a:latin typeface="+mj-lt"/>
                <a:ea typeface="+mj-ea"/>
                <a:cs typeface="+mj-cs"/>
              </a:rPr>
              <a:t> – Article 230-1 du PCG</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145219" y="2139519"/>
            <a:ext cx="9712251" cy="2950676"/>
          </a:xfrm>
          <a:prstGeom prst="rect">
            <a:avLst/>
          </a:prstGeom>
        </p:spPr>
        <p:txBody>
          <a:bodyPr vert="horz" lIns="91440" tIns="45720" rIns="91440" bIns="45720" rtlCol="0" anchor="t">
            <a:normAutofit/>
          </a:bodyPr>
          <a:lstStyle/>
          <a:p>
            <a:pPr marR="0" lvl="0" fontAlgn="auto">
              <a:lnSpc>
                <a:spcPct val="120000"/>
              </a:lnSpc>
              <a:spcBef>
                <a:spcPts val="0"/>
              </a:spcBef>
              <a:spcAft>
                <a:spcPts val="600"/>
              </a:spcAft>
              <a:buClr>
                <a:schemeClr val="accent1"/>
              </a:buClr>
              <a:buSzPct val="100000"/>
              <a:tabLst/>
              <a:defRPr/>
            </a:pPr>
            <a:r>
              <a:rPr lang="fr-FR" sz="2400" dirty="0"/>
              <a:t>« Le résultat de l’exercice est égal tant à la différence entre les produits et les charges qu’à la variation des capitaux propres entre le début et la fin de l’exercice sauf s’il s’agit d’opérations affectant directement le montant des capitaux propres. Les produits et les charges de l’exercice sont classés au compte de résultat de manière à faire apparaître les différents niveaux de résultat. »</a:t>
            </a:r>
            <a:endParaRPr kumimoji="0" lang="en-US" sz="2400" b="0" i="0" u="none" strike="noStrike" cap="none" spc="0" normalizeH="0" baseline="0" noProof="0" dirty="0">
              <a:ln>
                <a:noFill/>
              </a:ln>
              <a:uLnTx/>
              <a:uFillTx/>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4854512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5" name="Rectangle 94">
            <a:extLst>
              <a:ext uri="{FF2B5EF4-FFF2-40B4-BE49-F238E27FC236}">
                <a16:creationId xmlns:a16="http://schemas.microsoft.com/office/drawing/2014/main" id="{7D144591-E9E9-4209-8701-3BB48A917D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8016084" y="547712"/>
            <a:ext cx="3989103" cy="5577367"/>
          </a:xfrm>
          <a:prstGeom prst="ellipse">
            <a:avLst/>
          </a:prstGeom>
        </p:spPr>
        <p:txBody>
          <a:bodyPr vert="horz" lIns="91440" tIns="45720" rIns="91440" bIns="45720" rtlCol="0">
            <a:normAutofit/>
          </a:bodyPr>
          <a:lstStyle/>
          <a:p>
            <a:r>
              <a:rPr lang="en-US" sz="5200" dirty="0" err="1"/>
              <a:t>En</a:t>
            </a:r>
            <a:r>
              <a:rPr lang="en-US" sz="5200" dirty="0"/>
              <a:t> résumé</a:t>
            </a:r>
          </a:p>
        </p:txBody>
      </p:sp>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aphicFrame>
        <p:nvGraphicFramePr>
          <p:cNvPr id="3" name="Diagramme 2">
            <a:extLst>
              <a:ext uri="{FF2B5EF4-FFF2-40B4-BE49-F238E27FC236}">
                <a16:creationId xmlns:a16="http://schemas.microsoft.com/office/drawing/2014/main" id="{EB47E2AE-56E8-4C2F-9AC1-214629840D45}"/>
              </a:ext>
            </a:extLst>
          </p:cNvPr>
          <p:cNvGraphicFramePr/>
          <p:nvPr>
            <p:extLst>
              <p:ext uri="{D42A27DB-BD31-4B8C-83A1-F6EECF244321}">
                <p14:modId xmlns:p14="http://schemas.microsoft.com/office/powerpoint/2010/main" val="3266416640"/>
              </p:ext>
            </p:extLst>
          </p:nvPr>
        </p:nvGraphicFramePr>
        <p:xfrm>
          <a:off x="838200" y="620392"/>
          <a:ext cx="6630174" cy="550468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8620461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0" name="Rectangle 99">
            <a:extLst>
              <a:ext uri="{FF2B5EF4-FFF2-40B4-BE49-F238E27FC236}">
                <a16:creationId xmlns:a16="http://schemas.microsoft.com/office/drawing/2014/main" id="{53B021B3-DE93-4AB7-8A18-CF5F1CED88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325956" y="256032"/>
            <a:ext cx="11685536" cy="1373670"/>
          </a:xfrm>
          <a:prstGeom prst="ellipse">
            <a:avLst/>
          </a:prstGeom>
        </p:spPr>
        <p:txBody>
          <a:bodyPr vert="horz" lIns="91440" tIns="45720" rIns="91440" bIns="45720" rtlCol="0" anchor="b">
            <a:normAutofit fontScale="90000"/>
          </a:bodyPr>
          <a:lstStyle/>
          <a:p>
            <a:r>
              <a:rPr lang="en-US" dirty="0" err="1"/>
              <a:t>Différence</a:t>
            </a:r>
            <a:r>
              <a:rPr lang="en-US" dirty="0"/>
              <a:t> = </a:t>
            </a:r>
            <a:r>
              <a:rPr lang="en-US" dirty="0" err="1"/>
              <a:t>Résultat</a:t>
            </a:r>
            <a:r>
              <a:rPr lang="en-US" dirty="0"/>
              <a:t> </a:t>
            </a:r>
            <a:br>
              <a:rPr lang="en-US" dirty="0"/>
            </a:br>
            <a:r>
              <a:rPr lang="en-US" dirty="0"/>
              <a:t>(benefice </a:t>
            </a:r>
            <a:r>
              <a:rPr lang="en-US" dirty="0" err="1"/>
              <a:t>ou</a:t>
            </a:r>
            <a:r>
              <a:rPr lang="en-US" dirty="0"/>
              <a:t> </a:t>
            </a:r>
            <a:r>
              <a:rPr lang="en-US" dirty="0" err="1"/>
              <a:t>perte</a:t>
            </a:r>
            <a:r>
              <a:rPr lang="en-US" dirty="0"/>
              <a:t>)</a:t>
            </a:r>
          </a:p>
        </p:txBody>
      </p:sp>
      <p:sp>
        <p:nvSpPr>
          <p:cNvPr id="102" name="Rectangle 101">
            <a:extLst>
              <a:ext uri="{FF2B5EF4-FFF2-40B4-BE49-F238E27FC236}">
                <a16:creationId xmlns:a16="http://schemas.microsoft.com/office/drawing/2014/main" id="{52D502E5-F6B4-4D58-B4AE-FC466FF15E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5953" y="1634502"/>
            <a:ext cx="10451592"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04" name="Rectangle 103">
            <a:extLst>
              <a:ext uri="{FF2B5EF4-FFF2-40B4-BE49-F238E27FC236}">
                <a16:creationId xmlns:a16="http://schemas.microsoft.com/office/drawing/2014/main" id="{9DECDBF4-02B6-4BB4-B65B-B8107AD6A9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841248" y="1538176"/>
            <a:ext cx="1873457" cy="1098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aphicFrame>
        <p:nvGraphicFramePr>
          <p:cNvPr id="3" name="Diagramme 2">
            <a:extLst>
              <a:ext uri="{FF2B5EF4-FFF2-40B4-BE49-F238E27FC236}">
                <a16:creationId xmlns:a16="http://schemas.microsoft.com/office/drawing/2014/main" id="{EB47E2AE-56E8-4C2F-9AC1-214629840D45}"/>
              </a:ext>
            </a:extLst>
          </p:cNvPr>
          <p:cNvGraphicFramePr/>
          <p:nvPr>
            <p:extLst>
              <p:ext uri="{D42A27DB-BD31-4B8C-83A1-F6EECF244321}">
                <p14:modId xmlns:p14="http://schemas.microsoft.com/office/powerpoint/2010/main" val="3654117106"/>
              </p:ext>
            </p:extLst>
          </p:nvPr>
        </p:nvGraphicFramePr>
        <p:xfrm>
          <a:off x="838200" y="1926266"/>
          <a:ext cx="10515600" cy="435752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3275282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CDDE5CDF-1512-4CDA-B956-23D223F8DE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84" name="Picture 83">
            <a:extLst>
              <a:ext uri="{FF2B5EF4-FFF2-40B4-BE49-F238E27FC236}">
                <a16:creationId xmlns:a16="http://schemas.microsoft.com/office/drawing/2014/main" id="{B029D7D8-5A6B-4C76-94C8-15798C6C5AD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cxnSp>
        <p:nvCxnSpPr>
          <p:cNvPr id="86" name="Straight Connector 85">
            <a:extLst>
              <a:ext uri="{FF2B5EF4-FFF2-40B4-BE49-F238E27FC236}">
                <a16:creationId xmlns:a16="http://schemas.microsoft.com/office/drawing/2014/main" id="{A5C9319C-E20D-4884-952F-60B6A58C3E3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 useBgFill="1">
        <p:nvSpPr>
          <p:cNvPr id="88" name="Rectangle 87">
            <a:extLst>
              <a:ext uri="{FF2B5EF4-FFF2-40B4-BE49-F238E27FC236}">
                <a16:creationId xmlns:a16="http://schemas.microsoft.com/office/drawing/2014/main" id="{F1176DA6-4BBF-42A4-9C94-E6613CCD6B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99AAB0AE-172B-4FB4-80C2-86CD6B8242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chemeClr val="bg1"/>
          </a:solidFill>
          <a:ln w="22225">
            <a:solidFill>
              <a:srgbClr val="FEBA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Image 5">
            <a:extLst>
              <a:ext uri="{FF2B5EF4-FFF2-40B4-BE49-F238E27FC236}">
                <a16:creationId xmlns:a16="http://schemas.microsoft.com/office/drawing/2014/main" id="{BA6FDF90-98B7-4DE7-9DA2-593814214CF9}"/>
              </a:ext>
            </a:extLst>
          </p:cNvPr>
          <p:cNvPicPr>
            <a:picLocks noChangeAspect="1"/>
          </p:cNvPicPr>
          <p:nvPr/>
        </p:nvPicPr>
        <p:blipFill>
          <a:blip r:embed="rId4"/>
          <a:stretch>
            <a:fillRect/>
          </a:stretch>
        </p:blipFill>
        <p:spPr>
          <a:xfrm>
            <a:off x="919055" y="1539416"/>
            <a:ext cx="10629477" cy="3879758"/>
          </a:xfrm>
          <a:prstGeom prst="rect">
            <a:avLst/>
          </a:prstGeom>
        </p:spPr>
      </p:pic>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a:bodyPr>
          <a:lstStyle/>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endParaRPr kumimoji="0" lang="en-US" sz="2400" b="0" i="0" u="none" strike="noStrike" cap="none" spc="0" normalizeH="0" baseline="0" noProof="0" dirty="0">
              <a:ln>
                <a:noFill/>
              </a:ln>
              <a:uLnTx/>
              <a:uFillTx/>
              <a:latin typeface="Arial" panose="020B0604020202020204" pitchFamily="34" charset="0"/>
              <a:cs typeface="Arial" panose="020B0604020202020204" pitchFamily="34" charset="0"/>
            </a:endParaRPr>
          </a:p>
        </p:txBody>
      </p:sp>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4354193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A3BAF07C-C39E-42EB-BB22-8D46691D97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3061"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id="{D8E9CF54-0466-4261-9E62-0249E60E188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29674" y="-59376"/>
            <a:ext cx="12515851" cy="6923798"/>
            <a:chOff x="-329674" y="-51881"/>
            <a:chExt cx="12515851" cy="6923798"/>
          </a:xfrm>
        </p:grpSpPr>
        <p:sp>
          <p:nvSpPr>
            <p:cNvPr id="54" name="Freeform 5">
              <a:extLst>
                <a:ext uri="{FF2B5EF4-FFF2-40B4-BE49-F238E27FC236}">
                  <a16:creationId xmlns:a16="http://schemas.microsoft.com/office/drawing/2014/main" id="{33E32106-E8B1-4F76-9EE6-58537738A3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6">
              <a:extLst>
                <a:ext uri="{FF2B5EF4-FFF2-40B4-BE49-F238E27FC236}">
                  <a16:creationId xmlns:a16="http://schemas.microsoft.com/office/drawing/2014/main" id="{C32C2C46-A045-44FB-8A74-5EBD650C27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7">
              <a:extLst>
                <a:ext uri="{FF2B5EF4-FFF2-40B4-BE49-F238E27FC236}">
                  <a16:creationId xmlns:a16="http://schemas.microsoft.com/office/drawing/2014/main" id="{6A76F79C-6683-4940-BCF7-4BCCCEE406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57" name="Freeform 8">
              <a:extLst>
                <a:ext uri="{FF2B5EF4-FFF2-40B4-BE49-F238E27FC236}">
                  <a16:creationId xmlns:a16="http://schemas.microsoft.com/office/drawing/2014/main" id="{FF4675A3-6D07-4B1F-9BFC-AEBEA1AD067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9">
              <a:extLst>
                <a:ext uri="{FF2B5EF4-FFF2-40B4-BE49-F238E27FC236}">
                  <a16:creationId xmlns:a16="http://schemas.microsoft.com/office/drawing/2014/main" id="{765E127A-B6B7-4B1D-B7BD-6C8C969D29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10">
              <a:extLst>
                <a:ext uri="{FF2B5EF4-FFF2-40B4-BE49-F238E27FC236}">
                  <a16:creationId xmlns:a16="http://schemas.microsoft.com/office/drawing/2014/main" id="{3BCA9D9E-C72C-4751-BFA9-10B85CACE3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11">
              <a:extLst>
                <a:ext uri="{FF2B5EF4-FFF2-40B4-BE49-F238E27FC236}">
                  <a16:creationId xmlns:a16="http://schemas.microsoft.com/office/drawing/2014/main" id="{080C708C-69BF-441B-AB75-C98160ED06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1" name="Freeform 12">
              <a:extLst>
                <a:ext uri="{FF2B5EF4-FFF2-40B4-BE49-F238E27FC236}">
                  <a16:creationId xmlns:a16="http://schemas.microsoft.com/office/drawing/2014/main" id="{3E79964E-F8F1-4763-8892-7BC3DAE30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2" name="Freeform 13">
              <a:extLst>
                <a:ext uri="{FF2B5EF4-FFF2-40B4-BE49-F238E27FC236}">
                  <a16:creationId xmlns:a16="http://schemas.microsoft.com/office/drawing/2014/main" id="{FE09592A-FCC9-4AE5-BA0B-730C6F3BBE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3" name="Freeform 14">
              <a:extLst>
                <a:ext uri="{FF2B5EF4-FFF2-40B4-BE49-F238E27FC236}">
                  <a16:creationId xmlns:a16="http://schemas.microsoft.com/office/drawing/2014/main" id="{96448994-820C-4BC1-ABF3-4579C6F99A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64" name="Freeform 15">
              <a:extLst>
                <a:ext uri="{FF2B5EF4-FFF2-40B4-BE49-F238E27FC236}">
                  <a16:creationId xmlns:a16="http://schemas.microsoft.com/office/drawing/2014/main" id="{9BB0D192-565A-42B9-B292-CC032D71A6A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5" name="Freeform 16">
              <a:extLst>
                <a:ext uri="{FF2B5EF4-FFF2-40B4-BE49-F238E27FC236}">
                  <a16:creationId xmlns:a16="http://schemas.microsoft.com/office/drawing/2014/main" id="{6D1CA09C-5F40-4E92-A7E9-D1FCEE5128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66" name="Freeform 17">
              <a:extLst>
                <a:ext uri="{FF2B5EF4-FFF2-40B4-BE49-F238E27FC236}">
                  <a16:creationId xmlns:a16="http://schemas.microsoft.com/office/drawing/2014/main" id="{379F5AA5-2E14-4880-A5A6-07AEF2AD89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7" name="Freeform 18">
              <a:extLst>
                <a:ext uri="{FF2B5EF4-FFF2-40B4-BE49-F238E27FC236}">
                  <a16:creationId xmlns:a16="http://schemas.microsoft.com/office/drawing/2014/main" id="{EF14BD32-D239-4DA3-98B3-7752073657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8" name="Freeform 19">
              <a:extLst>
                <a:ext uri="{FF2B5EF4-FFF2-40B4-BE49-F238E27FC236}">
                  <a16:creationId xmlns:a16="http://schemas.microsoft.com/office/drawing/2014/main" id="{CF07B250-E5E4-4624-9BD7-8D513A67B7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9" name="Freeform 20">
              <a:extLst>
                <a:ext uri="{FF2B5EF4-FFF2-40B4-BE49-F238E27FC236}">
                  <a16:creationId xmlns:a16="http://schemas.microsoft.com/office/drawing/2014/main" id="{BCC5D120-7C8C-4290-865C-4EE6E4F245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0" name="Freeform 21">
              <a:extLst>
                <a:ext uri="{FF2B5EF4-FFF2-40B4-BE49-F238E27FC236}">
                  <a16:creationId xmlns:a16="http://schemas.microsoft.com/office/drawing/2014/main" id="{C24688C6-CAE5-4EF2-B2BA-A138DA0A24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1" name="Freeform 22">
              <a:extLst>
                <a:ext uri="{FF2B5EF4-FFF2-40B4-BE49-F238E27FC236}">
                  <a16:creationId xmlns:a16="http://schemas.microsoft.com/office/drawing/2014/main" id="{6BD31099-7C13-4901-A04F-632B1CD846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2" name="Freeform 23">
              <a:extLst>
                <a:ext uri="{FF2B5EF4-FFF2-40B4-BE49-F238E27FC236}">
                  <a16:creationId xmlns:a16="http://schemas.microsoft.com/office/drawing/2014/main" id="{679F5FF7-82B2-4033-8FBE-63170C9378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22639" y="4760132"/>
            <a:ext cx="12040730" cy="1777829"/>
          </a:xfrm>
          <a:prstGeom prst="ellipse">
            <a:avLst/>
          </a:prstGeom>
        </p:spPr>
        <p:txBody>
          <a:bodyPr vert="horz" lIns="91440" tIns="45720" rIns="91440" bIns="45720" rtlCol="0" anchor="ctr">
            <a:normAutofit/>
          </a:bodyPr>
          <a:lstStyle/>
          <a:p>
            <a:pPr algn="just"/>
            <a:r>
              <a:rPr lang="en-US" sz="2700" dirty="0">
                <a:latin typeface="Arial" panose="020B0604020202020204" pitchFamily="34" charset="0"/>
                <a:cs typeface="Arial" panose="020B0604020202020204" pitchFamily="34" charset="0"/>
              </a:rPr>
              <a:t>Le </a:t>
            </a:r>
            <a:r>
              <a:rPr lang="en-US" sz="2700" dirty="0" err="1">
                <a:latin typeface="Arial" panose="020B0604020202020204" pitchFamily="34" charset="0"/>
                <a:cs typeface="Arial" panose="020B0604020202020204" pitchFamily="34" charset="0"/>
              </a:rPr>
              <a:t>compte</a:t>
            </a:r>
            <a:r>
              <a:rPr lang="en-US" sz="2700" dirty="0">
                <a:latin typeface="Arial" panose="020B0604020202020204" pitchFamily="34" charset="0"/>
                <a:cs typeface="Arial" panose="020B0604020202020204" pitchFamily="34" charset="0"/>
              </a:rPr>
              <a:t> de </a:t>
            </a:r>
            <a:r>
              <a:rPr lang="en-US" sz="2700" dirty="0" err="1">
                <a:latin typeface="Arial" panose="020B0604020202020204" pitchFamily="34" charset="0"/>
                <a:cs typeface="Arial" panose="020B0604020202020204" pitchFamily="34" charset="0"/>
              </a:rPr>
              <a:t>résultat</a:t>
            </a:r>
            <a:r>
              <a:rPr lang="en-US" sz="2700" dirty="0">
                <a:latin typeface="Arial" panose="020B0604020202020204" pitchFamily="34" charset="0"/>
                <a:cs typeface="Arial" panose="020B0604020202020204" pitchFamily="34" charset="0"/>
              </a:rPr>
              <a:t> – </a:t>
            </a:r>
            <a:r>
              <a:rPr lang="en-US" sz="2700" dirty="0" err="1">
                <a:latin typeface="Arial" panose="020B0604020202020204" pitchFamily="34" charset="0"/>
                <a:cs typeface="Arial" panose="020B0604020202020204" pitchFamily="34" charset="0"/>
              </a:rPr>
              <a:t>détail</a:t>
            </a:r>
            <a:endParaRPr lang="en-US" sz="2500" dirty="0">
              <a:latin typeface="Arial" panose="020B0604020202020204" pitchFamily="34" charset="0"/>
              <a:cs typeface="Arial" panose="020B0604020202020204" pitchFamily="34" charset="0"/>
            </a:endParaRPr>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rotWithShape="1">
          <a:blip r:embed="rId4"/>
          <a:srcRect t="42737" b="2431"/>
          <a:stretch/>
        </p:blipFill>
        <p:spPr>
          <a:xfrm>
            <a:off x="20" y="2872"/>
            <a:ext cx="12191980" cy="4595954"/>
          </a:xfrm>
          <a:custGeom>
            <a:avLst/>
            <a:gdLst/>
            <a:ahLst/>
            <a:cxnLst/>
            <a:rect l="l" t="t" r="r" b="b"/>
            <a:pathLst>
              <a:path w="12192000" h="4621300">
                <a:moveTo>
                  <a:pt x="0" y="0"/>
                </a:moveTo>
                <a:lnTo>
                  <a:pt x="12192000" y="0"/>
                </a:lnTo>
                <a:lnTo>
                  <a:pt x="12192000" y="3104412"/>
                </a:lnTo>
                <a:lnTo>
                  <a:pt x="12192000" y="3296537"/>
                </a:lnTo>
                <a:lnTo>
                  <a:pt x="12192000" y="4272355"/>
                </a:lnTo>
                <a:lnTo>
                  <a:pt x="12113803" y="4280638"/>
                </a:lnTo>
                <a:cubicBezTo>
                  <a:pt x="10139508" y="4478587"/>
                  <a:pt x="8237152" y="4571590"/>
                  <a:pt x="6753597" y="4604195"/>
                </a:cubicBezTo>
                <a:cubicBezTo>
                  <a:pt x="4940362" y="4644044"/>
                  <a:pt x="2657278" y="4624714"/>
                  <a:pt x="400746" y="4432852"/>
                </a:cubicBezTo>
                <a:lnTo>
                  <a:pt x="0" y="4395876"/>
                </a:lnTo>
                <a:lnTo>
                  <a:pt x="0" y="3296537"/>
                </a:lnTo>
                <a:lnTo>
                  <a:pt x="0" y="3104412"/>
                </a:lnTo>
                <a:close/>
              </a:path>
            </a:pathLst>
          </a:custGeom>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12461652"/>
      </p:ext>
    </p:extLst>
  </p:cSld>
  <p:clrMapOvr>
    <a:overrideClrMapping bg1="dk1" tx1="lt1" bg2="dk2" tx2="lt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93" name="Rectangle 81">
            <a:extLst>
              <a:ext uri="{FF2B5EF4-FFF2-40B4-BE49-F238E27FC236}">
                <a16:creationId xmlns:a16="http://schemas.microsoft.com/office/drawing/2014/main" id="{F63C748C-967B-4A7B-A90F-3EDD0F485A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3"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83">
            <a:extLst>
              <a:ext uri="{FF2B5EF4-FFF2-40B4-BE49-F238E27FC236}">
                <a16:creationId xmlns:a16="http://schemas.microsoft.com/office/drawing/2014/main" id="{C0143637-4934-44E4-B909-BAF1E7B27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4062127" cy="68580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49683" y="1240076"/>
            <a:ext cx="2727813" cy="4584527"/>
          </a:xfrm>
        </p:spPr>
        <p:txBody>
          <a:bodyPr vert="horz" lIns="91440" tIns="45720" rIns="91440" bIns="45720" rtlCol="0" anchor="t">
            <a:normAutofit/>
          </a:bodyPr>
          <a:lstStyle/>
          <a:p>
            <a:r>
              <a:rPr lang="en-US" b="0" i="0" kern="1200" cap="all">
                <a:solidFill>
                  <a:srgbClr val="FFFFFF"/>
                </a:solidFill>
                <a:effectLst/>
                <a:latin typeface="+mj-lt"/>
                <a:ea typeface="+mj-ea"/>
                <a:cs typeface="+mj-cs"/>
              </a:rPr>
              <a:t>Les charges et les produits</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4351137" y="462117"/>
            <a:ext cx="7794075" cy="5694426"/>
          </a:xfrm>
          <a:prstGeom prst="rect">
            <a:avLst/>
          </a:prstGeom>
        </p:spPr>
        <p:txBody>
          <a:bodyPr vert="horz" lIns="91440" tIns="45720" rIns="91440" bIns="45720" rtlCol="0" anchor="t">
            <a:normAutofit/>
          </a:bodyPr>
          <a:lstStyle/>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en-US" sz="3600" dirty="0" err="1"/>
              <a:t>Classés</a:t>
            </a:r>
            <a:r>
              <a:rPr lang="en-US" sz="3600" dirty="0"/>
              <a:t> </a:t>
            </a:r>
            <a:r>
              <a:rPr lang="en-US" sz="3600" dirty="0" err="1"/>
              <a:t>en</a:t>
            </a:r>
            <a:r>
              <a:rPr lang="en-US" sz="3600" dirty="0"/>
              <a:t> 3 </a:t>
            </a:r>
            <a:r>
              <a:rPr lang="en-US" sz="3600" dirty="0" err="1"/>
              <a:t>catégories</a:t>
            </a:r>
            <a:r>
              <a:rPr lang="en-US" sz="3600" dirty="0"/>
              <a:t> :</a:t>
            </a:r>
          </a:p>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endParaRPr lang="en-US" sz="3600" dirty="0"/>
          </a:p>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en-US" sz="3600" dirty="0"/>
              <a:t>Exploitation =&gt; 1 à 5 =&gt; </a:t>
            </a:r>
            <a:r>
              <a:rPr lang="en-US" sz="3600" dirty="0" err="1"/>
              <a:t>donc</a:t>
            </a:r>
            <a:r>
              <a:rPr lang="en-US" sz="3600" dirty="0"/>
              <a:t> 60 à 65 et 70 à 75 </a:t>
            </a:r>
          </a:p>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en-US" sz="3600" dirty="0" err="1"/>
              <a:t>Financières</a:t>
            </a:r>
            <a:r>
              <a:rPr lang="en-US" sz="3600" dirty="0"/>
              <a:t> =&gt; 6  =&gt;  </a:t>
            </a:r>
            <a:r>
              <a:rPr lang="en-US" sz="3600" dirty="0" err="1"/>
              <a:t>donc</a:t>
            </a:r>
            <a:r>
              <a:rPr lang="en-US" sz="3600" dirty="0"/>
              <a:t> 66 et 76</a:t>
            </a:r>
          </a:p>
          <a:p>
            <a:pPr marL="0" marR="0" lvl="0" indent="-228600" fontAlgn="auto">
              <a:lnSpc>
                <a:spcPct val="120000"/>
              </a:lnSpc>
              <a:spcBef>
                <a:spcPts val="0"/>
              </a:spcBef>
              <a:spcAft>
                <a:spcPts val="600"/>
              </a:spcAft>
              <a:buClr>
                <a:schemeClr val="accent1"/>
              </a:buClr>
              <a:buSzPct val="100000"/>
              <a:buFont typeface="Arial" panose="020B0604020202020204" pitchFamily="34" charset="0"/>
              <a:buChar char="•"/>
              <a:tabLst/>
              <a:defRPr/>
            </a:pPr>
            <a:r>
              <a:rPr lang="en-US" sz="3600" dirty="0" err="1"/>
              <a:t>Exceptionnelles</a:t>
            </a:r>
            <a:r>
              <a:rPr lang="en-US" sz="3600" dirty="0"/>
              <a:t> =&gt; 7 </a:t>
            </a:r>
            <a:r>
              <a:rPr lang="en-US" sz="3600" dirty="0" err="1"/>
              <a:t>donc</a:t>
            </a:r>
            <a:r>
              <a:rPr lang="en-US" sz="3600" dirty="0"/>
              <a:t> =&gt; 67 et 77</a:t>
            </a:r>
          </a:p>
        </p:txBody>
      </p:sp>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 name="ZoneTexte 3">
            <a:extLst>
              <a:ext uri="{FF2B5EF4-FFF2-40B4-BE49-F238E27FC236}">
                <a16:creationId xmlns:a16="http://schemas.microsoft.com/office/drawing/2014/main" id="{B907A768-CC25-4A4B-8C93-DA72B4C4D5E3}"/>
              </a:ext>
            </a:extLst>
          </p:cNvPr>
          <p:cNvSpPr txBox="1"/>
          <p:nvPr/>
        </p:nvSpPr>
        <p:spPr>
          <a:xfrm>
            <a:off x="560673" y="3938277"/>
            <a:ext cx="10836333"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123274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965430" y="629268"/>
            <a:ext cx="6586491" cy="1286160"/>
          </a:xfrm>
        </p:spPr>
        <p:txBody>
          <a:bodyPr vert="horz" lIns="91440" tIns="45720" rIns="91440" bIns="45720" rtlCol="0" anchor="b">
            <a:normAutofit fontScale="90000"/>
          </a:bodyPr>
          <a:lstStyle/>
          <a:p>
            <a:r>
              <a:rPr lang="en-US" dirty="0" err="1"/>
              <a:t>Recherchez</a:t>
            </a:r>
            <a:r>
              <a:rPr lang="en-US" dirty="0"/>
              <a:t> dans le PCG – </a:t>
            </a:r>
            <a:r>
              <a:rPr lang="en-US" dirty="0" err="1"/>
              <a:t>utilisez</a:t>
            </a:r>
            <a:r>
              <a:rPr lang="en-US" dirty="0"/>
              <a:t> la </a:t>
            </a:r>
            <a:r>
              <a:rPr lang="en-US" dirty="0" err="1"/>
              <a:t>liste</a:t>
            </a:r>
            <a:r>
              <a:rPr lang="en-US" dirty="0"/>
              <a:t> </a:t>
            </a:r>
            <a:r>
              <a:rPr lang="en-US" dirty="0" err="1"/>
              <a:t>abrégée</a:t>
            </a:r>
            <a:endParaRPr lang="en-US" dirty="0"/>
          </a:p>
        </p:txBody>
      </p:sp>
      <p:pic>
        <p:nvPicPr>
          <p:cNvPr id="12" name="Picture 11" descr="Plusieurs points d’interrogation sur fond noir">
            <a:extLst>
              <a:ext uri="{FF2B5EF4-FFF2-40B4-BE49-F238E27FC236}">
                <a16:creationId xmlns:a16="http://schemas.microsoft.com/office/drawing/2014/main" id="{1FD79E4A-E80D-4BA5-BEA9-44F693117FDC}"/>
              </a:ext>
            </a:extLst>
          </p:cNvPr>
          <p:cNvPicPr>
            <a:picLocks noChangeAspect="1"/>
          </p:cNvPicPr>
          <p:nvPr/>
        </p:nvPicPr>
        <p:blipFill rotWithShape="1">
          <a:blip r:embed="rId3"/>
          <a:srcRect l="58767" r="2" b="2"/>
          <a:stretch/>
        </p:blipFill>
        <p:spPr>
          <a:xfrm>
            <a:off x="20" y="10"/>
            <a:ext cx="4635571" cy="6857990"/>
          </a:xfrm>
          <a:prstGeom prst="rect">
            <a:avLst/>
          </a:prstGeom>
          <a:effectLst/>
        </p:spPr>
      </p:pic>
      <p:cxnSp>
        <p:nvCxnSpPr>
          <p:cNvPr id="16" name="Straight Connector 15">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18" name="ZoneTexte 9">
            <a:extLst>
              <a:ext uri="{FF2B5EF4-FFF2-40B4-BE49-F238E27FC236}">
                <a16:creationId xmlns:a16="http://schemas.microsoft.com/office/drawing/2014/main" id="{617CF2FB-A56B-4819-897B-4183F10C8A27}"/>
              </a:ext>
            </a:extLst>
          </p:cNvPr>
          <p:cNvGraphicFramePr/>
          <p:nvPr>
            <p:extLst>
              <p:ext uri="{D42A27DB-BD31-4B8C-83A1-F6EECF244321}">
                <p14:modId xmlns:p14="http://schemas.microsoft.com/office/powerpoint/2010/main" val="93273946"/>
              </p:ext>
            </p:extLst>
          </p:nvPr>
        </p:nvGraphicFramePr>
        <p:xfrm>
          <a:off x="4965431" y="2438400"/>
          <a:ext cx="6586489" cy="378541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884028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 name="Picture 11" descr="Plusieurs points d’interrogation sur fond noir">
            <a:extLst>
              <a:ext uri="{FF2B5EF4-FFF2-40B4-BE49-F238E27FC236}">
                <a16:creationId xmlns:a16="http://schemas.microsoft.com/office/drawing/2014/main" id="{1FD79E4A-E80D-4BA5-BEA9-44F693117FDC}"/>
              </a:ext>
            </a:extLst>
          </p:cNvPr>
          <p:cNvPicPr>
            <a:picLocks noChangeAspect="1"/>
          </p:cNvPicPr>
          <p:nvPr/>
        </p:nvPicPr>
        <p:blipFill rotWithShape="1">
          <a:blip r:embed="rId3">
            <a:alphaModFix/>
          </a:blip>
          <a:srcRect l="43125" r="2" b="2"/>
          <a:stretch/>
        </p:blipFill>
        <p:spPr>
          <a:xfrm>
            <a:off x="5797543" y="10"/>
            <a:ext cx="6394152" cy="6857990"/>
          </a:xfrm>
          <a:prstGeom prst="rect">
            <a:avLst/>
          </a:prstGeom>
        </p:spPr>
      </p:pic>
      <p:pic>
        <p:nvPicPr>
          <p:cNvPr id="21" name="Picture 20">
            <a:extLst>
              <a:ext uri="{FF2B5EF4-FFF2-40B4-BE49-F238E27FC236}">
                <a16:creationId xmlns:a16="http://schemas.microsoft.com/office/drawing/2014/main" id="{54DDEBDD-D8BD-41A6-8A0D-B00E3768B0F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flipH="1" flipV="1">
            <a:off x="0" y="0"/>
            <a:ext cx="12192000" cy="6858000"/>
          </a:xfrm>
          <a:prstGeom prst="rect">
            <a:avLst/>
          </a:prstGeom>
        </p:spPr>
      </p:pic>
      <p:sp>
        <p:nvSpPr>
          <p:cNvPr id="2" name="Title 1"/>
          <p:cNvSpPr>
            <a:spLocks noGrp="1"/>
          </p:cNvSpPr>
          <p:nvPr>
            <p:ph type="title"/>
          </p:nvPr>
        </p:nvSpPr>
        <p:spPr>
          <a:xfrm>
            <a:off x="804998" y="798445"/>
            <a:ext cx="4803636" cy="1311664"/>
          </a:xfrm>
        </p:spPr>
        <p:txBody>
          <a:bodyPr vert="horz" lIns="91440" tIns="45720" rIns="91440" bIns="45720" rtlCol="0" anchor="ctr">
            <a:normAutofit/>
          </a:bodyPr>
          <a:lstStyle/>
          <a:p>
            <a:r>
              <a:rPr lang="en-US" sz="3100">
                <a:solidFill>
                  <a:srgbClr val="000000"/>
                </a:solidFill>
              </a:rPr>
              <a:t>Rechercher dans le PCG – utilisez la liste abrégée (6/7)</a:t>
            </a:r>
          </a:p>
        </p:txBody>
      </p:sp>
      <p:sp>
        <p:nvSpPr>
          <p:cNvPr id="3" name="ZoneTexte 2">
            <a:extLst>
              <a:ext uri="{FF2B5EF4-FFF2-40B4-BE49-F238E27FC236}">
                <a16:creationId xmlns:a16="http://schemas.microsoft.com/office/drawing/2014/main" id="{060668A1-F703-43F0-AA81-AEEE6C0B4942}"/>
              </a:ext>
            </a:extLst>
          </p:cNvPr>
          <p:cNvSpPr txBox="1"/>
          <p:nvPr/>
        </p:nvSpPr>
        <p:spPr>
          <a:xfrm>
            <a:off x="804997" y="2272142"/>
            <a:ext cx="5291003" cy="4585847"/>
          </a:xfrm>
          <a:prstGeom prst="rect">
            <a:avLst/>
          </a:prstGeom>
        </p:spPr>
        <p:txBody>
          <a:bodyPr vert="horz" lIns="91440" tIns="45720" rIns="91440" bIns="45720" rtlCol="0" anchor="ctr">
            <a:normAutofit/>
          </a:bodyPr>
          <a:lstStyle/>
          <a:p>
            <a:pPr marL="342900" indent="-228600">
              <a:lnSpc>
                <a:spcPct val="90000"/>
              </a:lnSpc>
              <a:spcAft>
                <a:spcPts val="600"/>
              </a:spcAft>
              <a:buFont typeface="Arial" panose="020B0604020202020204" pitchFamily="34" charset="0"/>
              <a:buChar char="•"/>
            </a:pPr>
            <a:r>
              <a:rPr lang="en-US" sz="1900" dirty="0" err="1">
                <a:solidFill>
                  <a:srgbClr val="000000"/>
                </a:solidFill>
              </a:rPr>
              <a:t>Honoraires</a:t>
            </a:r>
            <a:r>
              <a:rPr lang="en-US" sz="1900" dirty="0">
                <a:solidFill>
                  <a:srgbClr val="000000"/>
                </a:solidFill>
              </a:rPr>
              <a:t> avocat</a:t>
            </a:r>
          </a:p>
          <a:p>
            <a:pPr marL="342900" indent="-228600">
              <a:lnSpc>
                <a:spcPct val="90000"/>
              </a:lnSpc>
              <a:spcAft>
                <a:spcPts val="600"/>
              </a:spcAft>
              <a:buFont typeface="Arial" panose="020B0604020202020204" pitchFamily="34" charset="0"/>
              <a:buChar char="•"/>
            </a:pPr>
            <a:r>
              <a:rPr lang="en-US" sz="1900" dirty="0" err="1">
                <a:solidFill>
                  <a:srgbClr val="000000"/>
                </a:solidFill>
              </a:rPr>
              <a:t>Prestations</a:t>
            </a:r>
            <a:r>
              <a:rPr lang="en-US" sz="1900" dirty="0">
                <a:solidFill>
                  <a:srgbClr val="000000"/>
                </a:solidFill>
              </a:rPr>
              <a:t> de services (formation)</a:t>
            </a:r>
          </a:p>
          <a:p>
            <a:pPr marL="342900" indent="-228600">
              <a:lnSpc>
                <a:spcPct val="90000"/>
              </a:lnSpc>
              <a:spcAft>
                <a:spcPts val="600"/>
              </a:spcAft>
              <a:buFont typeface="Arial" panose="020B0604020202020204" pitchFamily="34" charset="0"/>
              <a:buChar char="•"/>
            </a:pPr>
            <a:r>
              <a:rPr lang="en-US" sz="1900" dirty="0" err="1">
                <a:solidFill>
                  <a:srgbClr val="000000"/>
                </a:solidFill>
              </a:rPr>
              <a:t>Achat</a:t>
            </a:r>
            <a:r>
              <a:rPr lang="en-US" sz="1900" dirty="0">
                <a:solidFill>
                  <a:srgbClr val="000000"/>
                </a:solidFill>
              </a:rPr>
              <a:t> de </a:t>
            </a:r>
            <a:r>
              <a:rPr lang="en-US" sz="1900" dirty="0" err="1">
                <a:solidFill>
                  <a:srgbClr val="000000"/>
                </a:solidFill>
              </a:rPr>
              <a:t>fournitures</a:t>
            </a:r>
            <a:endParaRPr lang="en-US" sz="1900" dirty="0">
              <a:solidFill>
                <a:srgbClr val="000000"/>
              </a:solidFill>
            </a:endParaRPr>
          </a:p>
          <a:p>
            <a:pPr marL="342900" indent="-228600">
              <a:lnSpc>
                <a:spcPct val="90000"/>
              </a:lnSpc>
              <a:spcAft>
                <a:spcPts val="600"/>
              </a:spcAft>
              <a:buFont typeface="Arial" panose="020B0604020202020204" pitchFamily="34" charset="0"/>
              <a:buChar char="•"/>
            </a:pPr>
            <a:r>
              <a:rPr lang="en-US" sz="1900" dirty="0" err="1">
                <a:solidFill>
                  <a:srgbClr val="000000"/>
                </a:solidFill>
              </a:rPr>
              <a:t>Salaire</a:t>
            </a:r>
            <a:r>
              <a:rPr lang="en-US" sz="1900" dirty="0">
                <a:solidFill>
                  <a:srgbClr val="000000"/>
                </a:solidFill>
              </a:rPr>
              <a:t> brut de la </a:t>
            </a:r>
            <a:r>
              <a:rPr lang="en-US" sz="1900" dirty="0" err="1">
                <a:solidFill>
                  <a:srgbClr val="000000"/>
                </a:solidFill>
              </a:rPr>
              <a:t>personne</a:t>
            </a:r>
            <a:r>
              <a:rPr lang="en-US" sz="1900" dirty="0">
                <a:solidFill>
                  <a:srgbClr val="000000"/>
                </a:solidFill>
              </a:rPr>
              <a:t> au </a:t>
            </a:r>
            <a:r>
              <a:rPr lang="en-US" sz="1900" dirty="0" err="1">
                <a:solidFill>
                  <a:srgbClr val="000000"/>
                </a:solidFill>
              </a:rPr>
              <a:t>secrétariat</a:t>
            </a:r>
            <a:endParaRPr lang="en-US" sz="1900" dirty="0">
              <a:solidFill>
                <a:srgbClr val="000000"/>
              </a:solidFill>
            </a:endParaRPr>
          </a:p>
          <a:p>
            <a:pPr marL="342900" indent="-228600">
              <a:lnSpc>
                <a:spcPct val="90000"/>
              </a:lnSpc>
              <a:spcAft>
                <a:spcPts val="600"/>
              </a:spcAft>
              <a:buFont typeface="Arial" panose="020B0604020202020204" pitchFamily="34" charset="0"/>
              <a:buChar char="•"/>
            </a:pPr>
            <a:r>
              <a:rPr lang="en-US" sz="1900" dirty="0" err="1">
                <a:solidFill>
                  <a:srgbClr val="000000"/>
                </a:solidFill>
              </a:rPr>
              <a:t>Salaire</a:t>
            </a:r>
            <a:r>
              <a:rPr lang="en-US" sz="1900" dirty="0">
                <a:solidFill>
                  <a:srgbClr val="000000"/>
                </a:solidFill>
              </a:rPr>
              <a:t> net de la </a:t>
            </a:r>
            <a:r>
              <a:rPr lang="en-US" sz="1900" dirty="0" err="1">
                <a:solidFill>
                  <a:srgbClr val="000000"/>
                </a:solidFill>
              </a:rPr>
              <a:t>personne</a:t>
            </a:r>
            <a:r>
              <a:rPr lang="en-US" sz="1900" dirty="0">
                <a:solidFill>
                  <a:srgbClr val="000000"/>
                </a:solidFill>
              </a:rPr>
              <a:t> au </a:t>
            </a:r>
            <a:r>
              <a:rPr lang="en-US" sz="1900" dirty="0" err="1">
                <a:solidFill>
                  <a:srgbClr val="000000"/>
                </a:solidFill>
              </a:rPr>
              <a:t>secrétariat</a:t>
            </a:r>
            <a:endParaRPr lang="en-US" sz="1900" dirty="0">
              <a:solidFill>
                <a:srgbClr val="000000"/>
              </a:solidFill>
            </a:endParaRPr>
          </a:p>
          <a:p>
            <a:pPr marL="342900" indent="-228600">
              <a:lnSpc>
                <a:spcPct val="90000"/>
              </a:lnSpc>
              <a:spcAft>
                <a:spcPts val="600"/>
              </a:spcAft>
              <a:buFont typeface="Arial" panose="020B0604020202020204" pitchFamily="34" charset="0"/>
              <a:buChar char="•"/>
            </a:pPr>
            <a:r>
              <a:rPr lang="en-US" sz="1900" dirty="0">
                <a:solidFill>
                  <a:srgbClr val="000000"/>
                </a:solidFill>
              </a:rPr>
              <a:t>TVA </a:t>
            </a:r>
            <a:r>
              <a:rPr lang="en-US" sz="1900" dirty="0" err="1">
                <a:solidFill>
                  <a:srgbClr val="000000"/>
                </a:solidFill>
              </a:rPr>
              <a:t>collectée</a:t>
            </a:r>
            <a:r>
              <a:rPr lang="en-US" sz="1900" dirty="0">
                <a:solidFill>
                  <a:srgbClr val="000000"/>
                </a:solidFill>
              </a:rPr>
              <a:t> sur les ventes</a:t>
            </a:r>
          </a:p>
          <a:p>
            <a:pPr marL="342900" indent="-228600">
              <a:lnSpc>
                <a:spcPct val="90000"/>
              </a:lnSpc>
              <a:spcAft>
                <a:spcPts val="600"/>
              </a:spcAft>
              <a:buFont typeface="Arial" panose="020B0604020202020204" pitchFamily="34" charset="0"/>
              <a:buChar char="•"/>
            </a:pPr>
            <a:r>
              <a:rPr lang="en-US" sz="1900" dirty="0">
                <a:solidFill>
                  <a:srgbClr val="000000"/>
                </a:solidFill>
              </a:rPr>
              <a:t>Frais de </a:t>
            </a:r>
            <a:r>
              <a:rPr lang="en-US" sz="1900" dirty="0" err="1">
                <a:solidFill>
                  <a:srgbClr val="000000"/>
                </a:solidFill>
              </a:rPr>
              <a:t>réparation</a:t>
            </a:r>
            <a:r>
              <a:rPr lang="en-US" sz="1900" dirty="0">
                <a:solidFill>
                  <a:srgbClr val="000000"/>
                </a:solidFill>
              </a:rPr>
              <a:t> de </a:t>
            </a:r>
            <a:r>
              <a:rPr lang="en-US" sz="1900" dirty="0" err="1">
                <a:solidFill>
                  <a:srgbClr val="000000"/>
                </a:solidFill>
              </a:rPr>
              <a:t>véhicules</a:t>
            </a:r>
            <a:endParaRPr lang="en-US" sz="1900" dirty="0">
              <a:solidFill>
                <a:srgbClr val="000000"/>
              </a:solidFill>
            </a:endParaRPr>
          </a:p>
          <a:p>
            <a:pPr marL="342900" indent="-228600">
              <a:lnSpc>
                <a:spcPct val="90000"/>
              </a:lnSpc>
              <a:spcAft>
                <a:spcPts val="600"/>
              </a:spcAft>
              <a:buFont typeface="Arial" panose="020B0604020202020204" pitchFamily="34" charset="0"/>
              <a:buChar char="•"/>
            </a:pPr>
            <a:r>
              <a:rPr lang="en-US" sz="1900" dirty="0">
                <a:solidFill>
                  <a:srgbClr val="000000"/>
                </a:solidFill>
              </a:rPr>
              <a:t>Assurances</a:t>
            </a:r>
          </a:p>
          <a:p>
            <a:pPr marL="342900" indent="-228600">
              <a:lnSpc>
                <a:spcPct val="90000"/>
              </a:lnSpc>
              <a:spcAft>
                <a:spcPts val="600"/>
              </a:spcAft>
              <a:buFont typeface="Arial" panose="020B0604020202020204" pitchFamily="34" charset="0"/>
              <a:buChar char="•"/>
            </a:pPr>
            <a:r>
              <a:rPr lang="en-US" sz="1900" dirty="0">
                <a:solidFill>
                  <a:srgbClr val="000000"/>
                </a:solidFill>
              </a:rPr>
              <a:t>Prix de cession d’un </a:t>
            </a:r>
            <a:r>
              <a:rPr lang="en-US" sz="1900" dirty="0" err="1">
                <a:solidFill>
                  <a:srgbClr val="000000"/>
                </a:solidFill>
              </a:rPr>
              <a:t>véhicule</a:t>
            </a:r>
            <a:r>
              <a:rPr lang="en-US" sz="1900" dirty="0">
                <a:solidFill>
                  <a:srgbClr val="000000"/>
                </a:solidFill>
              </a:rPr>
              <a:t> de direction</a:t>
            </a:r>
          </a:p>
          <a:p>
            <a:pPr marL="342900" indent="-228600">
              <a:lnSpc>
                <a:spcPct val="90000"/>
              </a:lnSpc>
              <a:spcAft>
                <a:spcPts val="600"/>
              </a:spcAft>
              <a:buFont typeface="Arial" panose="020B0604020202020204" pitchFamily="34" charset="0"/>
              <a:buChar char="•"/>
            </a:pPr>
            <a:r>
              <a:rPr lang="en-US" sz="1900" dirty="0">
                <a:solidFill>
                  <a:srgbClr val="000000"/>
                </a:solidFill>
              </a:rPr>
              <a:t>Frais </a:t>
            </a:r>
            <a:r>
              <a:rPr lang="en-US" sz="1900" dirty="0" err="1">
                <a:solidFill>
                  <a:srgbClr val="000000"/>
                </a:solidFill>
              </a:rPr>
              <a:t>bancaires</a:t>
            </a:r>
            <a:endParaRPr lang="en-US" sz="1900" dirty="0">
              <a:solidFill>
                <a:srgbClr val="000000"/>
              </a:solidFill>
            </a:endParaRPr>
          </a:p>
          <a:p>
            <a:pPr marL="342900" indent="-228600">
              <a:lnSpc>
                <a:spcPct val="90000"/>
              </a:lnSpc>
              <a:spcAft>
                <a:spcPts val="600"/>
              </a:spcAft>
              <a:buFont typeface="Arial" panose="020B0604020202020204" pitchFamily="34" charset="0"/>
              <a:buChar char="•"/>
            </a:pPr>
            <a:endParaRPr lang="en-US" sz="1900" dirty="0">
              <a:solidFill>
                <a:srgbClr val="000000"/>
              </a:solidFill>
            </a:endParaRPr>
          </a:p>
          <a:p>
            <a:pPr marL="342900" indent="-228600">
              <a:lnSpc>
                <a:spcPct val="90000"/>
              </a:lnSpc>
              <a:spcAft>
                <a:spcPts val="600"/>
              </a:spcAft>
              <a:buFont typeface="Arial" panose="020B0604020202020204" pitchFamily="34" charset="0"/>
              <a:buChar char="•"/>
            </a:pPr>
            <a:endParaRPr lang="en-US" sz="1900" dirty="0">
              <a:solidFill>
                <a:srgbClr val="000000"/>
              </a:solidFill>
            </a:endParaRPr>
          </a:p>
          <a:p>
            <a:pPr marL="342900" indent="-228600">
              <a:lnSpc>
                <a:spcPct val="90000"/>
              </a:lnSpc>
              <a:spcAft>
                <a:spcPts val="600"/>
              </a:spcAft>
              <a:buFont typeface="Arial" panose="020B0604020202020204" pitchFamily="34" charset="0"/>
              <a:buChar char="•"/>
            </a:pPr>
            <a:endParaRPr lang="en-US" sz="1900" dirty="0">
              <a:solidFill>
                <a:srgbClr val="000000"/>
              </a:solidFill>
            </a:endParaRPr>
          </a:p>
          <a:p>
            <a:pPr indent="-228600">
              <a:lnSpc>
                <a:spcPct val="90000"/>
              </a:lnSpc>
              <a:spcAft>
                <a:spcPts val="600"/>
              </a:spcAft>
              <a:buFont typeface="Arial" panose="020B0604020202020204" pitchFamily="34" charset="0"/>
              <a:buChar char="•"/>
            </a:pPr>
            <a:endParaRPr lang="en-US" sz="1900" dirty="0">
              <a:solidFill>
                <a:srgbClr val="000000"/>
              </a:solidFill>
            </a:endParaRPr>
          </a:p>
        </p:txBody>
      </p:sp>
    </p:spTree>
    <p:extLst>
      <p:ext uri="{BB962C8B-B14F-4D97-AF65-F5344CB8AC3E}">
        <p14:creationId xmlns:p14="http://schemas.microsoft.com/office/powerpoint/2010/main" val="21651418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E8F175C6-C15F-4DB0-8423-A1EF4AADC8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960121" y="960120"/>
            <a:ext cx="10271760" cy="4937759"/>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ZoneTexte 1">
            <a:extLst>
              <a:ext uri="{FF2B5EF4-FFF2-40B4-BE49-F238E27FC236}">
                <a16:creationId xmlns:a16="http://schemas.microsoft.com/office/drawing/2014/main" id="{232A2D28-A06C-48FD-ABB4-EB7E27B84308}"/>
              </a:ext>
            </a:extLst>
          </p:cNvPr>
          <p:cNvSpPr txBox="1"/>
          <p:nvPr/>
        </p:nvSpPr>
        <p:spPr>
          <a:xfrm>
            <a:off x="1189723" y="1087656"/>
            <a:ext cx="9812554" cy="776656"/>
          </a:xfrm>
          <a:prstGeom prst="rect">
            <a:avLst/>
          </a:prstGeom>
          <a:noFill/>
        </p:spPr>
        <p:txBody>
          <a:bodyPr vert="horz" lIns="91440" tIns="45720" rIns="91440" bIns="45720" rtlCol="0" anchor="b">
            <a:normAutofit/>
          </a:bodyPr>
          <a:lstStyle/>
          <a:p>
            <a:pPr>
              <a:lnSpc>
                <a:spcPct val="90000"/>
              </a:lnSpc>
              <a:spcBef>
                <a:spcPct val="0"/>
              </a:spcBef>
              <a:spcAft>
                <a:spcPts val="600"/>
              </a:spcAft>
            </a:pPr>
            <a:r>
              <a:rPr lang="en-US" sz="4400" dirty="0">
                <a:solidFill>
                  <a:srgbClr val="FFFFFF"/>
                </a:solidFill>
                <a:latin typeface="+mj-lt"/>
                <a:ea typeface="+mj-ea"/>
                <a:cs typeface="+mj-cs"/>
              </a:rPr>
              <a:t>Les charges </a:t>
            </a:r>
            <a:r>
              <a:rPr lang="en-US" sz="4400" dirty="0" err="1">
                <a:solidFill>
                  <a:srgbClr val="FFFFFF"/>
                </a:solidFill>
                <a:latin typeface="+mj-lt"/>
                <a:ea typeface="+mj-ea"/>
                <a:cs typeface="+mj-cs"/>
              </a:rPr>
              <a:t>d’exploitation</a:t>
            </a:r>
            <a:endParaRPr lang="en-US" sz="4400" dirty="0">
              <a:solidFill>
                <a:srgbClr val="FFFFFF"/>
              </a:solidFill>
              <a:latin typeface="+mj-lt"/>
              <a:ea typeface="+mj-ea"/>
              <a:cs typeface="+mj-cs"/>
            </a:endParaRPr>
          </a:p>
        </p:txBody>
      </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extLst>
              <p:ext uri="{D42A27DB-BD31-4B8C-83A1-F6EECF244321}">
                <p14:modId xmlns:p14="http://schemas.microsoft.com/office/powerpoint/2010/main" val="2823831778"/>
              </p:ext>
            </p:extLst>
          </p:nvPr>
        </p:nvGraphicFramePr>
        <p:xfrm>
          <a:off x="1189722" y="1864312"/>
          <a:ext cx="9812555" cy="38141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8824562"/>
      </p:ext>
    </p:extLst>
  </p:cSld>
  <p:clrMapOvr>
    <a:overrideClrMapping bg1="dk1" tx1="lt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7E773EB-1EC1-4E49-9DE2-E6F4604972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0391"/>
            <a:ext cx="12192000" cy="1943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a:extLst>
              <a:ext uri="{FF2B5EF4-FFF2-40B4-BE49-F238E27FC236}">
                <a16:creationId xmlns:a16="http://schemas.microsoft.com/office/drawing/2014/main" id="{55455007-8AF7-4CFF-8B0D-381E697B6724}"/>
              </a:ext>
            </a:extLst>
          </p:cNvPr>
          <p:cNvSpPr>
            <a:spLocks noGrp="1"/>
          </p:cNvSpPr>
          <p:nvPr>
            <p:ph type="title"/>
          </p:nvPr>
        </p:nvSpPr>
        <p:spPr>
          <a:xfrm>
            <a:off x="391378" y="320675"/>
            <a:ext cx="11407487" cy="1325563"/>
          </a:xfrm>
        </p:spPr>
        <p:txBody>
          <a:bodyPr>
            <a:normAutofit/>
          </a:bodyPr>
          <a:lstStyle/>
          <a:p>
            <a:pPr lvl="0"/>
            <a:r>
              <a:rPr lang="fr-FR" sz="5400" dirty="0"/>
              <a:t>Exercer la profession</a:t>
            </a:r>
          </a:p>
        </p:txBody>
      </p:sp>
      <p:graphicFrame>
        <p:nvGraphicFramePr>
          <p:cNvPr id="5" name="Espace réservé du contenu 2">
            <a:extLst>
              <a:ext uri="{FF2B5EF4-FFF2-40B4-BE49-F238E27FC236}">
                <a16:creationId xmlns:a16="http://schemas.microsoft.com/office/drawing/2014/main" id="{0C899C7D-CFDA-4D32-B2E9-07B40C3BB1B2}"/>
              </a:ext>
            </a:extLst>
          </p:cNvPr>
          <p:cNvGraphicFramePr>
            <a:graphicFrameLocks noGrp="1"/>
          </p:cNvGraphicFramePr>
          <p:nvPr>
            <p:ph idx="1"/>
            <p:extLst>
              <p:ext uri="{D42A27DB-BD31-4B8C-83A1-F6EECF244321}">
                <p14:modId xmlns:p14="http://schemas.microsoft.com/office/powerpoint/2010/main" val="2315676183"/>
              </p:ext>
            </p:extLst>
          </p:nvPr>
        </p:nvGraphicFramePr>
        <p:xfrm>
          <a:off x="391379" y="1976293"/>
          <a:ext cx="11407487"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499586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E8F175C6-C15F-4DB0-8423-A1EF4AADC8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960121" y="960120"/>
            <a:ext cx="10271760" cy="4937759"/>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ZoneTexte 1">
            <a:extLst>
              <a:ext uri="{FF2B5EF4-FFF2-40B4-BE49-F238E27FC236}">
                <a16:creationId xmlns:a16="http://schemas.microsoft.com/office/drawing/2014/main" id="{232A2D28-A06C-48FD-ABB4-EB7E27B84308}"/>
              </a:ext>
            </a:extLst>
          </p:cNvPr>
          <p:cNvSpPr txBox="1"/>
          <p:nvPr/>
        </p:nvSpPr>
        <p:spPr>
          <a:xfrm>
            <a:off x="1189723" y="1087656"/>
            <a:ext cx="9812554" cy="776656"/>
          </a:xfrm>
          <a:prstGeom prst="rect">
            <a:avLst/>
          </a:prstGeom>
          <a:noFill/>
        </p:spPr>
        <p:txBody>
          <a:bodyPr vert="horz" lIns="91440" tIns="45720" rIns="91440" bIns="45720" rtlCol="0" anchor="b">
            <a:normAutofit/>
          </a:bodyPr>
          <a:lstStyle/>
          <a:p>
            <a:pPr>
              <a:lnSpc>
                <a:spcPct val="90000"/>
              </a:lnSpc>
              <a:spcBef>
                <a:spcPct val="0"/>
              </a:spcBef>
              <a:spcAft>
                <a:spcPts val="600"/>
              </a:spcAft>
            </a:pPr>
            <a:r>
              <a:rPr lang="en-US" sz="4400" dirty="0">
                <a:solidFill>
                  <a:srgbClr val="FFFFFF"/>
                </a:solidFill>
                <a:latin typeface="+mj-lt"/>
                <a:ea typeface="+mj-ea"/>
                <a:cs typeface="+mj-cs"/>
              </a:rPr>
              <a:t>Les charges </a:t>
            </a:r>
            <a:r>
              <a:rPr lang="en-US" sz="4400" dirty="0" err="1">
                <a:solidFill>
                  <a:srgbClr val="FFFFFF"/>
                </a:solidFill>
                <a:latin typeface="+mj-lt"/>
                <a:ea typeface="+mj-ea"/>
                <a:cs typeface="+mj-cs"/>
              </a:rPr>
              <a:t>d’exploitation</a:t>
            </a:r>
            <a:endParaRPr lang="en-US" sz="4400" dirty="0">
              <a:solidFill>
                <a:srgbClr val="FFFFFF"/>
              </a:solidFill>
              <a:latin typeface="+mj-lt"/>
              <a:ea typeface="+mj-ea"/>
              <a:cs typeface="+mj-cs"/>
            </a:endParaRPr>
          </a:p>
        </p:txBody>
      </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extLst>
              <p:ext uri="{D42A27DB-BD31-4B8C-83A1-F6EECF244321}">
                <p14:modId xmlns:p14="http://schemas.microsoft.com/office/powerpoint/2010/main" val="2918555794"/>
              </p:ext>
            </p:extLst>
          </p:nvPr>
        </p:nvGraphicFramePr>
        <p:xfrm>
          <a:off x="1189722" y="1864312"/>
          <a:ext cx="9812555" cy="38141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44456229"/>
      </p:ext>
    </p:extLst>
  </p:cSld>
  <p:clrMapOvr>
    <a:overrideClrMapping bg1="dk1" tx1="lt1" bg2="dk2" tx2="lt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E8F175C6-C15F-4DB0-8423-A1EF4AADC8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960121" y="960120"/>
            <a:ext cx="10271760" cy="4937759"/>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ZoneTexte 1">
            <a:extLst>
              <a:ext uri="{FF2B5EF4-FFF2-40B4-BE49-F238E27FC236}">
                <a16:creationId xmlns:a16="http://schemas.microsoft.com/office/drawing/2014/main" id="{232A2D28-A06C-48FD-ABB4-EB7E27B84308}"/>
              </a:ext>
            </a:extLst>
          </p:cNvPr>
          <p:cNvSpPr txBox="1"/>
          <p:nvPr/>
        </p:nvSpPr>
        <p:spPr>
          <a:xfrm>
            <a:off x="1189723" y="1087656"/>
            <a:ext cx="9812554" cy="776656"/>
          </a:xfrm>
          <a:prstGeom prst="rect">
            <a:avLst/>
          </a:prstGeom>
          <a:noFill/>
        </p:spPr>
        <p:txBody>
          <a:bodyPr vert="horz" lIns="91440" tIns="45720" rIns="91440" bIns="45720" rtlCol="0" anchor="b">
            <a:normAutofit/>
          </a:bodyPr>
          <a:lstStyle/>
          <a:p>
            <a:pPr>
              <a:lnSpc>
                <a:spcPct val="90000"/>
              </a:lnSpc>
              <a:spcBef>
                <a:spcPct val="0"/>
              </a:spcBef>
              <a:spcAft>
                <a:spcPts val="600"/>
              </a:spcAft>
            </a:pPr>
            <a:r>
              <a:rPr lang="en-US" sz="4400" dirty="0">
                <a:solidFill>
                  <a:srgbClr val="FFFFFF"/>
                </a:solidFill>
                <a:latin typeface="+mj-lt"/>
                <a:ea typeface="+mj-ea"/>
                <a:cs typeface="+mj-cs"/>
              </a:rPr>
              <a:t>Les </a:t>
            </a:r>
            <a:r>
              <a:rPr lang="en-US" sz="4400" dirty="0" err="1">
                <a:solidFill>
                  <a:srgbClr val="FFFFFF"/>
                </a:solidFill>
                <a:latin typeface="+mj-lt"/>
                <a:ea typeface="+mj-ea"/>
                <a:cs typeface="+mj-cs"/>
              </a:rPr>
              <a:t>autres</a:t>
            </a:r>
            <a:r>
              <a:rPr lang="en-US" sz="4400" dirty="0">
                <a:solidFill>
                  <a:srgbClr val="FFFFFF"/>
                </a:solidFill>
                <a:latin typeface="+mj-lt"/>
                <a:ea typeface="+mj-ea"/>
                <a:cs typeface="+mj-cs"/>
              </a:rPr>
              <a:t> services </a:t>
            </a:r>
            <a:r>
              <a:rPr lang="en-US" sz="4400" dirty="0" err="1">
                <a:solidFill>
                  <a:srgbClr val="FFFFFF"/>
                </a:solidFill>
                <a:latin typeface="+mj-lt"/>
                <a:ea typeface="+mj-ea"/>
                <a:cs typeface="+mj-cs"/>
              </a:rPr>
              <a:t>exterieurs</a:t>
            </a:r>
            <a:r>
              <a:rPr lang="en-US" sz="4400" dirty="0">
                <a:solidFill>
                  <a:srgbClr val="FFFFFF"/>
                </a:solidFill>
                <a:latin typeface="+mj-lt"/>
                <a:ea typeface="+mj-ea"/>
                <a:cs typeface="+mj-cs"/>
              </a:rPr>
              <a:t> - 62</a:t>
            </a:r>
          </a:p>
        </p:txBody>
      </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extLst>
              <p:ext uri="{D42A27DB-BD31-4B8C-83A1-F6EECF244321}">
                <p14:modId xmlns:p14="http://schemas.microsoft.com/office/powerpoint/2010/main" val="1492286719"/>
              </p:ext>
            </p:extLst>
          </p:nvPr>
        </p:nvGraphicFramePr>
        <p:xfrm>
          <a:off x="1189722" y="1864312"/>
          <a:ext cx="9812555" cy="38141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70884533"/>
      </p:ext>
    </p:extLst>
  </p:cSld>
  <p:clrMapOvr>
    <a:overrideClrMapping bg1="dk1" tx1="lt1" bg2="dk2" tx2="lt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E8F175C6-C15F-4DB0-8423-A1EF4AADC8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960121" y="960120"/>
            <a:ext cx="10271760" cy="4937759"/>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ZoneTexte 1">
            <a:extLst>
              <a:ext uri="{FF2B5EF4-FFF2-40B4-BE49-F238E27FC236}">
                <a16:creationId xmlns:a16="http://schemas.microsoft.com/office/drawing/2014/main" id="{232A2D28-A06C-48FD-ABB4-EB7E27B84308}"/>
              </a:ext>
            </a:extLst>
          </p:cNvPr>
          <p:cNvSpPr txBox="1"/>
          <p:nvPr/>
        </p:nvSpPr>
        <p:spPr>
          <a:xfrm>
            <a:off x="1189723" y="1087656"/>
            <a:ext cx="9812554" cy="776656"/>
          </a:xfrm>
          <a:prstGeom prst="rect">
            <a:avLst/>
          </a:prstGeom>
          <a:noFill/>
        </p:spPr>
        <p:txBody>
          <a:bodyPr vert="horz" lIns="91440" tIns="45720" rIns="91440" bIns="45720" rtlCol="0" anchor="b">
            <a:normAutofit/>
          </a:bodyPr>
          <a:lstStyle/>
          <a:p>
            <a:pPr>
              <a:lnSpc>
                <a:spcPct val="90000"/>
              </a:lnSpc>
              <a:spcBef>
                <a:spcPct val="0"/>
              </a:spcBef>
              <a:spcAft>
                <a:spcPts val="600"/>
              </a:spcAft>
            </a:pPr>
            <a:r>
              <a:rPr lang="en-US" sz="4400" dirty="0">
                <a:solidFill>
                  <a:srgbClr val="FFFFFF"/>
                </a:solidFill>
                <a:latin typeface="+mj-lt"/>
                <a:ea typeface="+mj-ea"/>
                <a:cs typeface="+mj-cs"/>
              </a:rPr>
              <a:t>Les </a:t>
            </a:r>
            <a:r>
              <a:rPr lang="en-US" sz="4400" dirty="0" err="1">
                <a:solidFill>
                  <a:srgbClr val="FFFFFF"/>
                </a:solidFill>
                <a:latin typeface="+mj-lt"/>
                <a:ea typeface="+mj-ea"/>
                <a:cs typeface="+mj-cs"/>
              </a:rPr>
              <a:t>autres</a:t>
            </a:r>
            <a:r>
              <a:rPr lang="en-US" sz="4400" dirty="0">
                <a:solidFill>
                  <a:srgbClr val="FFFFFF"/>
                </a:solidFill>
                <a:latin typeface="+mj-lt"/>
                <a:ea typeface="+mj-ea"/>
                <a:cs typeface="+mj-cs"/>
              </a:rPr>
              <a:t> services </a:t>
            </a:r>
            <a:r>
              <a:rPr lang="en-US" sz="4400" dirty="0" err="1">
                <a:solidFill>
                  <a:srgbClr val="FFFFFF"/>
                </a:solidFill>
                <a:latin typeface="+mj-lt"/>
                <a:ea typeface="+mj-ea"/>
                <a:cs typeface="+mj-cs"/>
              </a:rPr>
              <a:t>exterieurs</a:t>
            </a:r>
            <a:r>
              <a:rPr lang="en-US" sz="4400" dirty="0">
                <a:solidFill>
                  <a:srgbClr val="FFFFFF"/>
                </a:solidFill>
                <a:latin typeface="+mj-lt"/>
                <a:ea typeface="+mj-ea"/>
                <a:cs typeface="+mj-cs"/>
              </a:rPr>
              <a:t> - 62</a:t>
            </a:r>
          </a:p>
        </p:txBody>
      </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extLst>
              <p:ext uri="{D42A27DB-BD31-4B8C-83A1-F6EECF244321}">
                <p14:modId xmlns:p14="http://schemas.microsoft.com/office/powerpoint/2010/main" val="2244150630"/>
              </p:ext>
            </p:extLst>
          </p:nvPr>
        </p:nvGraphicFramePr>
        <p:xfrm>
          <a:off x="1189722" y="1864312"/>
          <a:ext cx="9812555" cy="38141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65143180"/>
      </p:ext>
    </p:extLst>
  </p:cSld>
  <p:clrMapOvr>
    <a:overrideClrMapping bg1="dk1" tx1="lt1" bg2="dk2" tx2="lt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E8F175C6-C15F-4DB0-8423-A1EF4AADC8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960121" y="960120"/>
            <a:ext cx="10271760" cy="4937759"/>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ZoneTexte 1">
            <a:extLst>
              <a:ext uri="{FF2B5EF4-FFF2-40B4-BE49-F238E27FC236}">
                <a16:creationId xmlns:a16="http://schemas.microsoft.com/office/drawing/2014/main" id="{232A2D28-A06C-48FD-ABB4-EB7E27B84308}"/>
              </a:ext>
            </a:extLst>
          </p:cNvPr>
          <p:cNvSpPr txBox="1"/>
          <p:nvPr/>
        </p:nvSpPr>
        <p:spPr>
          <a:xfrm>
            <a:off x="1189723" y="1087656"/>
            <a:ext cx="9812554" cy="776656"/>
          </a:xfrm>
          <a:prstGeom prst="rect">
            <a:avLst/>
          </a:prstGeom>
          <a:noFill/>
        </p:spPr>
        <p:txBody>
          <a:bodyPr vert="horz" lIns="91440" tIns="45720" rIns="91440" bIns="45720" rtlCol="0" anchor="b">
            <a:normAutofit/>
          </a:bodyPr>
          <a:lstStyle/>
          <a:p>
            <a:pPr>
              <a:lnSpc>
                <a:spcPct val="90000"/>
              </a:lnSpc>
              <a:spcBef>
                <a:spcPct val="0"/>
              </a:spcBef>
              <a:spcAft>
                <a:spcPts val="600"/>
              </a:spcAft>
            </a:pPr>
            <a:r>
              <a:rPr lang="en-US" sz="4400" dirty="0">
                <a:solidFill>
                  <a:srgbClr val="FFFFFF"/>
                </a:solidFill>
                <a:latin typeface="+mj-lt"/>
                <a:ea typeface="+mj-ea"/>
                <a:cs typeface="+mj-cs"/>
              </a:rPr>
              <a:t>Les </a:t>
            </a:r>
            <a:r>
              <a:rPr lang="en-US" sz="4400" dirty="0" err="1">
                <a:solidFill>
                  <a:srgbClr val="FFFFFF"/>
                </a:solidFill>
                <a:latin typeface="+mj-lt"/>
                <a:ea typeface="+mj-ea"/>
                <a:cs typeface="+mj-cs"/>
              </a:rPr>
              <a:t>impôts</a:t>
            </a:r>
            <a:r>
              <a:rPr lang="en-US" sz="4400" dirty="0">
                <a:solidFill>
                  <a:srgbClr val="FFFFFF"/>
                </a:solidFill>
                <a:latin typeface="+mj-lt"/>
                <a:ea typeface="+mj-ea"/>
                <a:cs typeface="+mj-cs"/>
              </a:rPr>
              <a:t> et taxes - 63</a:t>
            </a:r>
          </a:p>
        </p:txBody>
      </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extLst>
              <p:ext uri="{D42A27DB-BD31-4B8C-83A1-F6EECF244321}">
                <p14:modId xmlns:p14="http://schemas.microsoft.com/office/powerpoint/2010/main" val="1668975476"/>
              </p:ext>
            </p:extLst>
          </p:nvPr>
        </p:nvGraphicFramePr>
        <p:xfrm>
          <a:off x="1189722" y="1864312"/>
          <a:ext cx="9812555" cy="38141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1625330"/>
      </p:ext>
    </p:extLst>
  </p:cSld>
  <p:clrMapOvr>
    <a:overrideClrMapping bg1="dk1" tx1="lt1" bg2="dk2" tx2="lt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E8F175C6-C15F-4DB0-8423-A1EF4AADC8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960121" y="960120"/>
            <a:ext cx="10271760" cy="4937759"/>
          </a:xfrm>
          <a:prstGeom prst="rect">
            <a:avLst/>
          </a:prstGeom>
          <a:solidFill>
            <a:schemeClr val="accent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ZoneTexte 1">
            <a:extLst>
              <a:ext uri="{FF2B5EF4-FFF2-40B4-BE49-F238E27FC236}">
                <a16:creationId xmlns:a16="http://schemas.microsoft.com/office/drawing/2014/main" id="{232A2D28-A06C-48FD-ABB4-EB7E27B84308}"/>
              </a:ext>
            </a:extLst>
          </p:cNvPr>
          <p:cNvSpPr txBox="1"/>
          <p:nvPr/>
        </p:nvSpPr>
        <p:spPr>
          <a:xfrm>
            <a:off x="1189723" y="1087656"/>
            <a:ext cx="9812554" cy="776656"/>
          </a:xfrm>
          <a:prstGeom prst="rect">
            <a:avLst/>
          </a:prstGeom>
          <a:noFill/>
        </p:spPr>
        <p:txBody>
          <a:bodyPr vert="horz" lIns="91440" tIns="45720" rIns="91440" bIns="45720" rtlCol="0" anchor="b">
            <a:normAutofit/>
          </a:bodyPr>
          <a:lstStyle/>
          <a:p>
            <a:pPr>
              <a:lnSpc>
                <a:spcPct val="90000"/>
              </a:lnSpc>
              <a:spcBef>
                <a:spcPct val="0"/>
              </a:spcBef>
              <a:spcAft>
                <a:spcPts val="600"/>
              </a:spcAft>
            </a:pPr>
            <a:r>
              <a:rPr lang="en-US" sz="4400" dirty="0">
                <a:solidFill>
                  <a:srgbClr val="FFFFFF"/>
                </a:solidFill>
                <a:latin typeface="+mj-lt"/>
                <a:ea typeface="+mj-ea"/>
                <a:cs typeface="+mj-cs"/>
              </a:rPr>
              <a:t>Les charges de personnel - 64</a:t>
            </a:r>
          </a:p>
        </p:txBody>
      </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extLst>
              <p:ext uri="{D42A27DB-BD31-4B8C-83A1-F6EECF244321}">
                <p14:modId xmlns:p14="http://schemas.microsoft.com/office/powerpoint/2010/main" val="4278234048"/>
              </p:ext>
            </p:extLst>
          </p:nvPr>
        </p:nvGraphicFramePr>
        <p:xfrm>
          <a:off x="1189722" y="1864312"/>
          <a:ext cx="9812555" cy="38141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8516613"/>
      </p:ext>
    </p:extLst>
  </p:cSld>
  <p:clrMapOvr>
    <a:overrideClrMapping bg1="dk1" tx1="lt1" bg2="dk2" tx2="lt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16C5FA50-8D52-4617-AF91-5C7B1C835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456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9093496" y="618681"/>
            <a:ext cx="2613872" cy="4794567"/>
          </a:xfrm>
          <a:prstGeom prst="ellipse">
            <a:avLst/>
          </a:prstGeom>
        </p:spPr>
        <p:txBody>
          <a:bodyPr vert="horz" lIns="91440" tIns="45720" rIns="91440" bIns="45720" rtlCol="0" anchor="ctr">
            <a:normAutofit/>
          </a:bodyPr>
          <a:lstStyle/>
          <a:p>
            <a:r>
              <a:rPr lang="en-US" sz="3600">
                <a:solidFill>
                  <a:srgbClr val="FFFFFF"/>
                </a:solidFill>
              </a:rPr>
              <a:t>Merci</a:t>
            </a:r>
          </a:p>
        </p:txBody>
      </p:sp>
      <p:sp>
        <p:nvSpPr>
          <p:cNvPr id="90" name="Rounded Rectangle 9">
            <a:extLst>
              <a:ext uri="{FF2B5EF4-FFF2-40B4-BE49-F238E27FC236}">
                <a16:creationId xmlns:a16="http://schemas.microsoft.com/office/drawing/2014/main" id="{E223798C-12AD-4B0C-A50C-D676347D67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5579" r="5579"/>
          <a:stretch/>
        </p:blipFill>
        <p:spPr>
          <a:xfrm>
            <a:off x="976251" y="942538"/>
            <a:ext cx="7163222" cy="4808332"/>
          </a:xfrm>
          <a:prstGeom prst="rect">
            <a:avLst/>
          </a:prstGeom>
          <a:effectLst/>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94971565"/>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BD55E05-51A2-4173-A7FA-869DE4F71A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013450"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838200" y="621792"/>
            <a:ext cx="4795157" cy="5413248"/>
          </a:xfrm>
        </p:spPr>
        <p:txBody>
          <a:bodyPr>
            <a:normAutofit/>
          </a:bodyPr>
          <a:lstStyle/>
          <a:p>
            <a:r>
              <a:rPr lang="fr-FR" sz="5200" b="1">
                <a:solidFill>
                  <a:schemeClr val="bg1"/>
                </a:solidFill>
              </a:rPr>
              <a:t>Quelle différence fondamentale existe-t-il entre la mission du CAC et de l’EC ?</a:t>
            </a:r>
            <a:endParaRPr lang="fr-FR" sz="5200">
              <a:solidFill>
                <a:schemeClr val="bg1"/>
              </a:solidFill>
            </a:endParaRPr>
          </a:p>
        </p:txBody>
      </p:sp>
      <p:graphicFrame>
        <p:nvGraphicFramePr>
          <p:cNvPr id="14" name="Espace réservé du contenu 2">
            <a:extLst>
              <a:ext uri="{FF2B5EF4-FFF2-40B4-BE49-F238E27FC236}">
                <a16:creationId xmlns:a16="http://schemas.microsoft.com/office/drawing/2014/main" id="{1301276B-2BE7-4E82-9296-901226B527D3}"/>
              </a:ext>
            </a:extLst>
          </p:cNvPr>
          <p:cNvGraphicFramePr>
            <a:graphicFrameLocks noGrp="1"/>
          </p:cNvGraphicFramePr>
          <p:nvPr>
            <p:ph idx="1"/>
          </p:nvPr>
        </p:nvGraphicFramePr>
        <p:xfrm>
          <a:off x="6670110" y="622301"/>
          <a:ext cx="4683690" cy="54127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20757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82413CC-69E6-4BDA-A88D-E4EF8F95B2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4F1F7357-8633-4CE7-BF80-475EE8A2FAE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4" name="Freeform 5">
              <a:extLst>
                <a:ext uri="{FF2B5EF4-FFF2-40B4-BE49-F238E27FC236}">
                  <a16:creationId xmlns:a16="http://schemas.microsoft.com/office/drawing/2014/main" id="{E402FE4E-C12D-497C-AF81-F08E4E02B4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306513" y="0"/>
              <a:ext cx="3862388" cy="6843713"/>
            </a:xfrm>
            <a:custGeom>
              <a:avLst/>
              <a:gdLst>
                <a:gd name="T0" fmla="*/ 813 w 813"/>
                <a:gd name="T1" fmla="*/ 0 h 1440"/>
                <a:gd name="T2" fmla="*/ 435 w 813"/>
                <a:gd name="T3" fmla="*/ 1440 h 1440"/>
              </a:gdLst>
              <a:ahLst/>
              <a:cxnLst>
                <a:cxn ang="0">
                  <a:pos x="T0" y="T1"/>
                </a:cxn>
                <a:cxn ang="0">
                  <a:pos x="T2" y="T3"/>
                </a:cxn>
              </a:cxnLst>
              <a:rect l="0" t="0" r="r" b="b"/>
              <a:pathLst>
                <a:path w="813" h="1440">
                  <a:moveTo>
                    <a:pt x="813" y="0"/>
                  </a:moveTo>
                  <a:cubicBezTo>
                    <a:pt x="331" y="221"/>
                    <a:pt x="0" y="1039"/>
                    <a:pt x="43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59247B10-170D-4E62-849A-38FCB43C6A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26725" y="9525"/>
              <a:ext cx="1539875" cy="555625"/>
            </a:xfrm>
            <a:custGeom>
              <a:avLst/>
              <a:gdLst>
                <a:gd name="T0" fmla="*/ 324 w 324"/>
                <a:gd name="T1" fmla="*/ 117 h 117"/>
                <a:gd name="T2" fmla="*/ 0 w 324"/>
                <a:gd name="T3" fmla="*/ 0 h 117"/>
              </a:gdLst>
              <a:ahLst/>
              <a:cxnLst>
                <a:cxn ang="0">
                  <a:pos x="T0" y="T1"/>
                </a:cxn>
                <a:cxn ang="0">
                  <a:pos x="T2" y="T3"/>
                </a:cxn>
              </a:cxnLst>
              <a:rect l="0" t="0" r="r" b="b"/>
              <a:pathLst>
                <a:path w="324" h="117">
                  <a:moveTo>
                    <a:pt x="324" y="117"/>
                  </a:moveTo>
                  <a:cubicBezTo>
                    <a:pt x="223" y="64"/>
                    <a:pt x="107" y="28"/>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89A587A7-1BEF-45AA-9EFC-6558A8749C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247313" y="5013325"/>
              <a:ext cx="1919288" cy="1830388"/>
            </a:xfrm>
            <a:custGeom>
              <a:avLst/>
              <a:gdLst>
                <a:gd name="T0" fmla="*/ 0 w 404"/>
                <a:gd name="T1" fmla="*/ 385 h 385"/>
                <a:gd name="T2" fmla="*/ 404 w 404"/>
                <a:gd name="T3" fmla="*/ 0 h 385"/>
              </a:gdLst>
              <a:ahLst/>
              <a:cxnLst>
                <a:cxn ang="0">
                  <a:pos x="T0" y="T1"/>
                </a:cxn>
                <a:cxn ang="0">
                  <a:pos x="T2" y="T3"/>
                </a:cxn>
              </a:cxnLst>
              <a:rect l="0" t="0" r="r" b="b"/>
              <a:pathLst>
                <a:path w="404" h="385">
                  <a:moveTo>
                    <a:pt x="0" y="385"/>
                  </a:moveTo>
                  <a:cubicBezTo>
                    <a:pt x="146" y="272"/>
                    <a:pt x="285" y="142"/>
                    <a:pt x="404"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AC25B5A1-6EF7-44EC-A2F0-1EDC96A79B0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775" y="0"/>
              <a:ext cx="3676650" cy="6843713"/>
            </a:xfrm>
            <a:custGeom>
              <a:avLst/>
              <a:gdLst>
                <a:gd name="T0" fmla="*/ 774 w 774"/>
                <a:gd name="T1" fmla="*/ 0 h 1440"/>
                <a:gd name="T2" fmla="*/ 411 w 774"/>
                <a:gd name="T3" fmla="*/ 1440 h 1440"/>
              </a:gdLst>
              <a:ahLst/>
              <a:cxnLst>
                <a:cxn ang="0">
                  <a:pos x="T0" y="T1"/>
                </a:cxn>
                <a:cxn ang="0">
                  <a:pos x="T2" y="T3"/>
                </a:cxn>
              </a:cxnLst>
              <a:rect l="0" t="0" r="r" b="b"/>
              <a:pathLst>
                <a:path w="774" h="1440">
                  <a:moveTo>
                    <a:pt x="774" y="0"/>
                  </a:moveTo>
                  <a:cubicBezTo>
                    <a:pt x="312" y="240"/>
                    <a:pt x="0" y="1034"/>
                    <a:pt x="411" y="144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80B8582C-7E17-4115-9FF1-979C8405CB5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2988" y="9525"/>
              <a:ext cx="963613" cy="366713"/>
            </a:xfrm>
            <a:custGeom>
              <a:avLst/>
              <a:gdLst>
                <a:gd name="T0" fmla="*/ 203 w 203"/>
                <a:gd name="T1" fmla="*/ 77 h 77"/>
                <a:gd name="T2" fmla="*/ 0 w 203"/>
                <a:gd name="T3" fmla="*/ 0 h 77"/>
              </a:gdLst>
              <a:ahLst/>
              <a:cxnLst>
                <a:cxn ang="0">
                  <a:pos x="T0" y="T1"/>
                </a:cxn>
                <a:cxn ang="0">
                  <a:pos x="T2" y="T3"/>
                </a:cxn>
              </a:cxnLst>
              <a:rect l="0" t="0" r="r" b="b"/>
              <a:pathLst>
                <a:path w="203" h="77">
                  <a:moveTo>
                    <a:pt x="203" y="77"/>
                  </a:moveTo>
                  <a:cubicBezTo>
                    <a:pt x="138" y="46"/>
                    <a:pt x="68" y="21"/>
                    <a:pt x="0"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F6C4AB66-7A18-4E51-935B-237F4CA8272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494963" y="5275263"/>
              <a:ext cx="1666875" cy="1577975"/>
            </a:xfrm>
            <a:custGeom>
              <a:avLst/>
              <a:gdLst>
                <a:gd name="T0" fmla="*/ 0 w 351"/>
                <a:gd name="T1" fmla="*/ 332 h 332"/>
                <a:gd name="T2" fmla="*/ 351 w 351"/>
                <a:gd name="T3" fmla="*/ 0 h 332"/>
              </a:gdLst>
              <a:ahLst/>
              <a:cxnLst>
                <a:cxn ang="0">
                  <a:pos x="T0" y="T1"/>
                </a:cxn>
                <a:cxn ang="0">
                  <a:pos x="T2" y="T3"/>
                </a:cxn>
              </a:cxnLst>
              <a:rect l="0" t="0" r="r" b="b"/>
              <a:pathLst>
                <a:path w="351" h="332">
                  <a:moveTo>
                    <a:pt x="0" y="332"/>
                  </a:moveTo>
                  <a:cubicBezTo>
                    <a:pt x="125" y="232"/>
                    <a:pt x="245" y="121"/>
                    <a:pt x="351" y="0"/>
                  </a:cubicBezTo>
                </a:path>
              </a:pathLst>
            </a:custGeom>
            <a:noFill/>
            <a:ln w="9525" cap="flat">
              <a:solidFill>
                <a:schemeClr val="tx1">
                  <a:alpha val="15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CDF12911-A240-4580-8788-0C49DB1FEDB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621088" cy="6843713"/>
            </a:xfrm>
            <a:custGeom>
              <a:avLst/>
              <a:gdLst>
                <a:gd name="T0" fmla="*/ 762 w 762"/>
                <a:gd name="T1" fmla="*/ 0 h 1440"/>
                <a:gd name="T2" fmla="*/ 403 w 762"/>
                <a:gd name="T3" fmla="*/ 1440 h 1440"/>
              </a:gdLst>
              <a:ahLst/>
              <a:cxnLst>
                <a:cxn ang="0">
                  <a:pos x="T0" y="T1"/>
                </a:cxn>
                <a:cxn ang="0">
                  <a:pos x="T2" y="T3"/>
                </a:cxn>
              </a:cxnLst>
              <a:rect l="0" t="0" r="r" b="b"/>
              <a:pathLst>
                <a:path w="762" h="1440">
                  <a:moveTo>
                    <a:pt x="762" y="0"/>
                  </a:moveTo>
                  <a:cubicBezTo>
                    <a:pt x="308" y="245"/>
                    <a:pt x="0" y="1033"/>
                    <a:pt x="403"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EAE0F5DE-442D-4F6C-B02C-2568ED19585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501438" y="9525"/>
              <a:ext cx="665163" cy="257175"/>
            </a:xfrm>
            <a:custGeom>
              <a:avLst/>
              <a:gdLst>
                <a:gd name="T0" fmla="*/ 140 w 140"/>
                <a:gd name="T1" fmla="*/ 54 h 54"/>
                <a:gd name="T2" fmla="*/ 0 w 140"/>
                <a:gd name="T3" fmla="*/ 0 h 54"/>
              </a:gdLst>
              <a:ahLst/>
              <a:cxnLst>
                <a:cxn ang="0">
                  <a:pos x="T0" y="T1"/>
                </a:cxn>
                <a:cxn ang="0">
                  <a:pos x="T2" y="T3"/>
                </a:cxn>
              </a:cxnLst>
              <a:rect l="0" t="0" r="r" b="b"/>
              <a:pathLst>
                <a:path w="140" h="54">
                  <a:moveTo>
                    <a:pt x="140" y="54"/>
                  </a:moveTo>
                  <a:cubicBezTo>
                    <a:pt x="95" y="34"/>
                    <a:pt x="48" y="16"/>
                    <a:pt x="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4F24A002-AFDE-4034-85BE-CBF005AE923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41013" y="5408613"/>
              <a:ext cx="1525588" cy="1435100"/>
            </a:xfrm>
            <a:custGeom>
              <a:avLst/>
              <a:gdLst>
                <a:gd name="T0" fmla="*/ 0 w 321"/>
                <a:gd name="T1" fmla="*/ 302 h 302"/>
                <a:gd name="T2" fmla="*/ 321 w 321"/>
                <a:gd name="T3" fmla="*/ 0 h 302"/>
              </a:gdLst>
              <a:ahLst/>
              <a:cxnLst>
                <a:cxn ang="0">
                  <a:pos x="T0" y="T1"/>
                </a:cxn>
                <a:cxn ang="0">
                  <a:pos x="T2" y="T3"/>
                </a:cxn>
              </a:cxnLst>
              <a:rect l="0" t="0" r="r" b="b"/>
              <a:pathLst>
                <a:path w="321" h="302">
                  <a:moveTo>
                    <a:pt x="0" y="302"/>
                  </a:moveTo>
                  <a:cubicBezTo>
                    <a:pt x="114" y="210"/>
                    <a:pt x="223" y="109"/>
                    <a:pt x="321"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36F0721E-B4B0-4A6C-A92C-F8DE92D3AC0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244850" cy="6843713"/>
            </a:xfrm>
            <a:custGeom>
              <a:avLst/>
              <a:gdLst>
                <a:gd name="T0" fmla="*/ 683 w 683"/>
                <a:gd name="T1" fmla="*/ 0 h 1440"/>
                <a:gd name="T2" fmla="*/ 355 w 683"/>
                <a:gd name="T3" fmla="*/ 1440 h 1440"/>
              </a:gdLst>
              <a:ahLst/>
              <a:cxnLst>
                <a:cxn ang="0">
                  <a:pos x="T0" y="T1"/>
                </a:cxn>
                <a:cxn ang="0">
                  <a:pos x="T2" y="T3"/>
                </a:cxn>
              </a:cxnLst>
              <a:rect l="0" t="0" r="r" b="b"/>
              <a:pathLst>
                <a:path w="683" h="1440">
                  <a:moveTo>
                    <a:pt x="683" y="0"/>
                  </a:moveTo>
                  <a:cubicBezTo>
                    <a:pt x="258" y="256"/>
                    <a:pt x="0" y="1041"/>
                    <a:pt x="355"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54D2DC98-69F8-4F2F-9D45-BDFFA5E2BB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802938" y="5518150"/>
              <a:ext cx="1363663" cy="1325563"/>
            </a:xfrm>
            <a:custGeom>
              <a:avLst/>
              <a:gdLst>
                <a:gd name="T0" fmla="*/ 0 w 287"/>
                <a:gd name="T1" fmla="*/ 279 h 279"/>
                <a:gd name="T2" fmla="*/ 287 w 287"/>
                <a:gd name="T3" fmla="*/ 0 h 279"/>
              </a:gdLst>
              <a:ahLst/>
              <a:cxnLst>
                <a:cxn ang="0">
                  <a:pos x="T0" y="T1"/>
                </a:cxn>
                <a:cxn ang="0">
                  <a:pos x="T2" y="T3"/>
                </a:cxn>
              </a:cxnLst>
              <a:rect l="0" t="0" r="r" b="b"/>
              <a:pathLst>
                <a:path w="287" h="279">
                  <a:moveTo>
                    <a:pt x="0" y="279"/>
                  </a:moveTo>
                  <a:cubicBezTo>
                    <a:pt x="101" y="193"/>
                    <a:pt x="198" y="100"/>
                    <a:pt x="287"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0A636E33-DC38-40B9-B941-037E5D8603F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89000" y="0"/>
              <a:ext cx="3230563" cy="6843713"/>
            </a:xfrm>
            <a:custGeom>
              <a:avLst/>
              <a:gdLst>
                <a:gd name="T0" fmla="*/ 680 w 680"/>
                <a:gd name="T1" fmla="*/ 0 h 1440"/>
                <a:gd name="T2" fmla="*/ 337 w 680"/>
                <a:gd name="T3" fmla="*/ 1440 h 1440"/>
              </a:gdLst>
              <a:ahLst/>
              <a:cxnLst>
                <a:cxn ang="0">
                  <a:pos x="T0" y="T1"/>
                </a:cxn>
                <a:cxn ang="0">
                  <a:pos x="T2" y="T3"/>
                </a:cxn>
              </a:cxnLst>
              <a:rect l="0" t="0" r="r" b="b"/>
              <a:pathLst>
                <a:path w="680" h="1440">
                  <a:moveTo>
                    <a:pt x="680" y="0"/>
                  </a:moveTo>
                  <a:cubicBezTo>
                    <a:pt x="257" y="265"/>
                    <a:pt x="0" y="1026"/>
                    <a:pt x="337"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03D30690-68C2-4AEC-9789-1495D97E194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79150" y="5694363"/>
              <a:ext cx="1187450" cy="1149350"/>
            </a:xfrm>
            <a:custGeom>
              <a:avLst/>
              <a:gdLst>
                <a:gd name="T0" fmla="*/ 0 w 250"/>
                <a:gd name="T1" fmla="*/ 242 h 242"/>
                <a:gd name="T2" fmla="*/ 250 w 250"/>
                <a:gd name="T3" fmla="*/ 0 h 242"/>
              </a:gdLst>
              <a:ahLst/>
              <a:cxnLst>
                <a:cxn ang="0">
                  <a:pos x="T0" y="T1"/>
                </a:cxn>
                <a:cxn ang="0">
                  <a:pos x="T2" y="T3"/>
                </a:cxn>
              </a:cxnLst>
              <a:rect l="0" t="0" r="r" b="b"/>
              <a:pathLst>
                <a:path w="250" h="242">
                  <a:moveTo>
                    <a:pt x="0" y="242"/>
                  </a:moveTo>
                  <a:cubicBezTo>
                    <a:pt x="88" y="166"/>
                    <a:pt x="172" y="85"/>
                    <a:pt x="250"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1020B1B9-821B-49FB-BDC9-57DA08CBC3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84188" y="0"/>
              <a:ext cx="3421063" cy="6843713"/>
            </a:xfrm>
            <a:custGeom>
              <a:avLst/>
              <a:gdLst>
                <a:gd name="T0" fmla="*/ 720 w 720"/>
                <a:gd name="T1" fmla="*/ 0 h 1440"/>
                <a:gd name="T2" fmla="*/ 362 w 720"/>
                <a:gd name="T3" fmla="*/ 1440 h 1440"/>
              </a:gdLst>
              <a:ahLst/>
              <a:cxnLst>
                <a:cxn ang="0">
                  <a:pos x="T0" y="T1"/>
                </a:cxn>
                <a:cxn ang="0">
                  <a:pos x="T2" y="T3"/>
                </a:cxn>
              </a:cxnLst>
              <a:rect l="0" t="0" r="r" b="b"/>
              <a:pathLst>
                <a:path w="720" h="1440">
                  <a:moveTo>
                    <a:pt x="720" y="0"/>
                  </a:moveTo>
                  <a:cubicBezTo>
                    <a:pt x="316" y="282"/>
                    <a:pt x="0" y="1018"/>
                    <a:pt x="362"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720EDCE4-8B18-413F-989E-E79628E5AF1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87125" y="6049963"/>
              <a:ext cx="879475" cy="793750"/>
            </a:xfrm>
            <a:custGeom>
              <a:avLst/>
              <a:gdLst>
                <a:gd name="T0" fmla="*/ 0 w 185"/>
                <a:gd name="T1" fmla="*/ 167 h 167"/>
                <a:gd name="T2" fmla="*/ 185 w 185"/>
                <a:gd name="T3" fmla="*/ 0 h 167"/>
              </a:gdLst>
              <a:ahLst/>
              <a:cxnLst>
                <a:cxn ang="0">
                  <a:pos x="T0" y="T1"/>
                </a:cxn>
                <a:cxn ang="0">
                  <a:pos x="T2" y="T3"/>
                </a:cxn>
              </a:cxnLst>
              <a:rect l="0" t="0" r="r" b="b"/>
              <a:pathLst>
                <a:path w="185" h="167">
                  <a:moveTo>
                    <a:pt x="0" y="167"/>
                  </a:moveTo>
                  <a:cubicBezTo>
                    <a:pt x="63" y="114"/>
                    <a:pt x="125" y="58"/>
                    <a:pt x="185" y="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8563351E-0DDD-4FC8-8D0C-1E446E3C1B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8488" y="0"/>
              <a:ext cx="2717800" cy="6843713"/>
            </a:xfrm>
            <a:custGeom>
              <a:avLst/>
              <a:gdLst>
                <a:gd name="T0" fmla="*/ 572 w 572"/>
                <a:gd name="T1" fmla="*/ 0 h 1440"/>
                <a:gd name="T2" fmla="*/ 164 w 572"/>
                <a:gd name="T3" fmla="*/ 1440 h 1440"/>
              </a:gdLst>
              <a:ahLst/>
              <a:cxnLst>
                <a:cxn ang="0">
                  <a:pos x="T0" y="T1"/>
                </a:cxn>
                <a:cxn ang="0">
                  <a:pos x="T2" y="T3"/>
                </a:cxn>
              </a:cxnLst>
              <a:rect l="0" t="0" r="r" b="b"/>
              <a:pathLst>
                <a:path w="572" h="1440">
                  <a:moveTo>
                    <a:pt x="572" y="0"/>
                  </a:moveTo>
                  <a:cubicBezTo>
                    <a:pt x="213" y="320"/>
                    <a:pt x="0" y="979"/>
                    <a:pt x="164" y="1440"/>
                  </a:cubicBezTo>
                </a:path>
              </a:pathLst>
            </a:custGeom>
            <a:noFill/>
            <a:ln w="12700" cap="flat">
              <a:solidFill>
                <a:schemeClr val="tx1">
                  <a:alpha val="15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15E8B705-64E7-4513-B3CB-BF46C35732B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61938" y="0"/>
              <a:ext cx="2944813" cy="6843713"/>
            </a:xfrm>
            <a:custGeom>
              <a:avLst/>
              <a:gdLst>
                <a:gd name="T0" fmla="*/ 620 w 620"/>
                <a:gd name="T1" fmla="*/ 0 h 1440"/>
                <a:gd name="T2" fmla="*/ 186 w 620"/>
                <a:gd name="T3" fmla="*/ 1440 h 1440"/>
              </a:gdLst>
              <a:ahLst/>
              <a:cxnLst>
                <a:cxn ang="0">
                  <a:pos x="T0" y="T1"/>
                </a:cxn>
                <a:cxn ang="0">
                  <a:pos x="T2" y="T3"/>
                </a:cxn>
              </a:cxnLst>
              <a:rect l="0" t="0" r="r" b="b"/>
              <a:pathLst>
                <a:path w="620" h="1440">
                  <a:moveTo>
                    <a:pt x="620" y="0"/>
                  </a:moveTo>
                  <a:cubicBezTo>
                    <a:pt x="248" y="325"/>
                    <a:pt x="0" y="960"/>
                    <a:pt x="186" y="1440"/>
                  </a:cubicBezTo>
                </a:path>
              </a:pathLst>
            </a:custGeom>
            <a:noFill/>
            <a:ln w="9525" cap="flat">
              <a:solidFill>
                <a:schemeClr val="tx1">
                  <a:alpha val="15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30DAEE1C-EBB5-47F5-9E76-564FCFDBFC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17513" y="0"/>
              <a:ext cx="2403475" cy="6843713"/>
            </a:xfrm>
            <a:custGeom>
              <a:avLst/>
              <a:gdLst>
                <a:gd name="T0" fmla="*/ 506 w 506"/>
                <a:gd name="T1" fmla="*/ 0 h 1440"/>
                <a:gd name="T2" fmla="*/ 171 w 506"/>
                <a:gd name="T3" fmla="*/ 1440 h 1440"/>
              </a:gdLst>
              <a:ahLst/>
              <a:cxnLst>
                <a:cxn ang="0">
                  <a:pos x="T0" y="T1"/>
                </a:cxn>
                <a:cxn ang="0">
                  <a:pos x="T2" y="T3"/>
                </a:cxn>
              </a:cxnLst>
              <a:rect l="0" t="0" r="r" b="b"/>
              <a:pathLst>
                <a:path w="506" h="1440">
                  <a:moveTo>
                    <a:pt x="506" y="0"/>
                  </a:moveTo>
                  <a:cubicBezTo>
                    <a:pt x="109" y="356"/>
                    <a:pt x="0" y="943"/>
                    <a:pt x="171" y="1440"/>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EDB255E9-A3E2-4098-99A1-FE38FAD15D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9525"/>
              <a:ext cx="1771650" cy="3198813"/>
            </a:xfrm>
            <a:custGeom>
              <a:avLst/>
              <a:gdLst>
                <a:gd name="T0" fmla="*/ 373 w 373"/>
                <a:gd name="T1" fmla="*/ 0 h 673"/>
                <a:gd name="T2" fmla="*/ 0 w 373"/>
                <a:gd name="T3" fmla="*/ 673 h 673"/>
              </a:gdLst>
              <a:ahLst/>
              <a:cxnLst>
                <a:cxn ang="0">
                  <a:pos x="T0" y="T1"/>
                </a:cxn>
                <a:cxn ang="0">
                  <a:pos x="T2" y="T3"/>
                </a:cxn>
              </a:cxnLst>
              <a:rect l="0" t="0" r="r" b="b"/>
              <a:pathLst>
                <a:path w="373" h="673">
                  <a:moveTo>
                    <a:pt x="373" y="0"/>
                  </a:moveTo>
                  <a:cubicBezTo>
                    <a:pt x="175" y="183"/>
                    <a:pt x="51" y="409"/>
                    <a:pt x="0" y="673"/>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D2507F2A-27AF-4833-8273-5FC9A98863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763" y="6016625"/>
              <a:ext cx="214313" cy="827088"/>
            </a:xfrm>
            <a:custGeom>
              <a:avLst/>
              <a:gdLst>
                <a:gd name="T0" fmla="*/ 0 w 45"/>
                <a:gd name="T1" fmla="*/ 0 h 174"/>
                <a:gd name="T2" fmla="*/ 45 w 45"/>
                <a:gd name="T3" fmla="*/ 174 h 174"/>
              </a:gdLst>
              <a:ahLst/>
              <a:cxnLst>
                <a:cxn ang="0">
                  <a:pos x="T0" y="T1"/>
                </a:cxn>
                <a:cxn ang="0">
                  <a:pos x="T2" y="T3"/>
                </a:cxn>
              </a:cxnLst>
              <a:rect l="0" t="0" r="r" b="b"/>
              <a:pathLst>
                <a:path w="45" h="174">
                  <a:moveTo>
                    <a:pt x="0" y="0"/>
                  </a:moveTo>
                  <a:cubicBezTo>
                    <a:pt x="11" y="59"/>
                    <a:pt x="26" y="118"/>
                    <a:pt x="45" y="174"/>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8DFB8904-0CB8-45AD-ABD2-F7A582365E8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0"/>
              <a:ext cx="1562100" cy="2228850"/>
            </a:xfrm>
            <a:custGeom>
              <a:avLst/>
              <a:gdLst>
                <a:gd name="T0" fmla="*/ 329 w 329"/>
                <a:gd name="T1" fmla="*/ 0 h 469"/>
                <a:gd name="T2" fmla="*/ 0 w 329"/>
                <a:gd name="T3" fmla="*/ 469 h 469"/>
              </a:gdLst>
              <a:ahLst/>
              <a:cxnLst>
                <a:cxn ang="0">
                  <a:pos x="T0" y="T1"/>
                </a:cxn>
                <a:cxn ang="0">
                  <a:pos x="T2" y="T3"/>
                </a:cxn>
              </a:cxnLst>
              <a:rect l="0" t="0" r="r" b="b"/>
              <a:pathLst>
                <a:path w="329" h="469">
                  <a:moveTo>
                    <a:pt x="329" y="0"/>
                  </a:moveTo>
                  <a:cubicBezTo>
                    <a:pt x="189" y="133"/>
                    <a:pt x="69" y="288"/>
                    <a:pt x="0" y="469"/>
                  </a:cubicBezTo>
                </a:path>
              </a:pathLst>
            </a:custGeom>
            <a:noFill/>
            <a:ln w="9525" cap="flat">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Espace réservé du contenu 5">
            <a:extLst>
              <a:ext uri="{FF2B5EF4-FFF2-40B4-BE49-F238E27FC236}">
                <a16:creationId xmlns:a16="http://schemas.microsoft.com/office/drawing/2014/main" id="{4A6E514C-D3C4-4B29-BB5C-DB98C7CA5742}"/>
              </a:ext>
            </a:extLst>
          </p:cNvPr>
          <p:cNvGraphicFramePr>
            <a:graphicFrameLocks noGrp="1"/>
          </p:cNvGraphicFramePr>
          <p:nvPr>
            <p:ph idx="1"/>
            <p:extLst>
              <p:ext uri="{D42A27DB-BD31-4B8C-83A1-F6EECF244321}">
                <p14:modId xmlns:p14="http://schemas.microsoft.com/office/powerpoint/2010/main" val="1324683556"/>
              </p:ext>
            </p:extLst>
          </p:nvPr>
        </p:nvGraphicFramePr>
        <p:xfrm>
          <a:off x="807722" y="638177"/>
          <a:ext cx="10576558" cy="55282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60654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526073" y="466578"/>
            <a:ext cx="11139854" cy="930447"/>
          </a:xfrm>
          <a:prstGeom prst="ellipse">
            <a:avLst/>
          </a:prstGeom>
        </p:spPr>
        <p:txBody>
          <a:bodyPr vert="horz" lIns="91440" tIns="45720" rIns="91440" bIns="45720" rtlCol="0" anchor="b">
            <a:normAutofit/>
          </a:bodyPr>
          <a:lstStyle/>
          <a:p>
            <a:pPr algn="ctr"/>
            <a:r>
              <a:rPr lang="en-US" sz="1800" b="1" kern="1200">
                <a:solidFill>
                  <a:srgbClr val="FFFFFF"/>
                </a:solidFill>
                <a:latin typeface="+mj-lt"/>
                <a:ea typeface="+mj-ea"/>
                <a:cs typeface="+mj-cs"/>
              </a:rPr>
              <a:t>Quelles normes sont applicables ? Celle spécifique à la durée de la mission ?</a:t>
            </a:r>
            <a:br>
              <a:rPr lang="en-US" sz="1800" b="1" kern="1200">
                <a:solidFill>
                  <a:srgbClr val="FFFFFF"/>
                </a:solidFill>
                <a:latin typeface="+mj-lt"/>
                <a:ea typeface="+mj-ea"/>
                <a:cs typeface="+mj-cs"/>
              </a:rPr>
            </a:br>
            <a:endParaRPr lang="en-US" sz="1800" kern="1200">
              <a:solidFill>
                <a:srgbClr val="FFFFFF"/>
              </a:solidFill>
              <a:latin typeface="+mj-lt"/>
              <a:ea typeface="+mj-ea"/>
              <a:cs typeface="+mj-cs"/>
            </a:endParaRPr>
          </a:p>
        </p:txBody>
      </p:sp>
      <p:cxnSp>
        <p:nvCxnSpPr>
          <p:cNvPr id="12" name="Straight Connector 1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 name="Image 4" descr="Une image contenant capture d’écran&#10;&#10;Description générée automatiquement">
            <a:extLst>
              <a:ext uri="{FF2B5EF4-FFF2-40B4-BE49-F238E27FC236}">
                <a16:creationId xmlns:a16="http://schemas.microsoft.com/office/drawing/2014/main" id="{D354C992-7F07-4CB6-B710-E12C3EC5AD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6681" y="2509911"/>
            <a:ext cx="8643538" cy="3997637"/>
          </a:xfrm>
          <a:prstGeom prst="rect">
            <a:avLst/>
          </a:prstGeom>
        </p:spPr>
      </p:pic>
    </p:spTree>
    <p:extLst>
      <p:ext uri="{BB962C8B-B14F-4D97-AF65-F5344CB8AC3E}">
        <p14:creationId xmlns:p14="http://schemas.microsoft.com/office/powerpoint/2010/main" val="27754714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1D63C574-BFD2-41A1-A567-B0C3CC7FDD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Color 2">
            <a:extLst>
              <a:ext uri="{FF2B5EF4-FFF2-40B4-BE49-F238E27FC236}">
                <a16:creationId xmlns:a16="http://schemas.microsoft.com/office/drawing/2014/main" id="{E2A46BAB-8C31-42B2-90E8-B26DD3E81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 name="Group 32">
            <a:extLst>
              <a:ext uri="{FF2B5EF4-FFF2-40B4-BE49-F238E27FC236}">
                <a16:creationId xmlns:a16="http://schemas.microsoft.com/office/drawing/2014/main" id="{B3F7A3C7-0737-4E57-B30E-8EEFE638B40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4707053" cy="6858000"/>
            <a:chOff x="651279" y="598259"/>
            <a:chExt cx="10889442" cy="5680742"/>
          </a:xfrm>
        </p:grpSpPr>
        <p:sp>
          <p:nvSpPr>
            <p:cNvPr id="34" name="Color">
              <a:extLst>
                <a:ext uri="{FF2B5EF4-FFF2-40B4-BE49-F238E27FC236}">
                  <a16:creationId xmlns:a16="http://schemas.microsoft.com/office/drawing/2014/main" id="{3BE6D516-DFC6-4698-B3F1-5F591C1130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Color">
              <a:extLst>
                <a:ext uri="{FF2B5EF4-FFF2-40B4-BE49-F238E27FC236}">
                  <a16:creationId xmlns:a16="http://schemas.microsoft.com/office/drawing/2014/main" id="{C2580FB0-D146-458C-AF1B-8E8BBF6BBA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oup 36">
            <a:extLst>
              <a:ext uri="{FF2B5EF4-FFF2-40B4-BE49-F238E27FC236}">
                <a16:creationId xmlns:a16="http://schemas.microsoft.com/office/drawing/2014/main" id="{43F5E015-E085-4624-B431-B4241444868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8" name="Freeform: Shape 37">
              <a:extLst>
                <a:ext uri="{FF2B5EF4-FFF2-40B4-BE49-F238E27FC236}">
                  <a16:creationId xmlns:a16="http://schemas.microsoft.com/office/drawing/2014/main" id="{4DDB60AE-8B9C-4BA0-93DC-F8C9EBF6D8B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9" name="Freeform: Shape 38">
              <a:extLst>
                <a:ext uri="{FF2B5EF4-FFF2-40B4-BE49-F238E27FC236}">
                  <a16:creationId xmlns:a16="http://schemas.microsoft.com/office/drawing/2014/main" id="{9F247760-BE07-41A2-969E-570081E65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40" name="Freeform: Shape 39">
              <a:extLst>
                <a:ext uri="{FF2B5EF4-FFF2-40B4-BE49-F238E27FC236}">
                  <a16:creationId xmlns:a16="http://schemas.microsoft.com/office/drawing/2014/main" id="{57A70BD2-76FC-4BDD-9E64-3B93D5EF36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41" name="Freeform: Shape 40">
              <a:extLst>
                <a:ext uri="{FF2B5EF4-FFF2-40B4-BE49-F238E27FC236}">
                  <a16:creationId xmlns:a16="http://schemas.microsoft.com/office/drawing/2014/main" id="{AADD9643-5489-42CB-9762-FBAC2AAE9F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42" name="Freeform: Shape 41">
              <a:extLst>
                <a:ext uri="{FF2B5EF4-FFF2-40B4-BE49-F238E27FC236}">
                  <a16:creationId xmlns:a16="http://schemas.microsoft.com/office/drawing/2014/main" id="{09A2C16E-2745-4E3D-BECC-D66755221E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43" name="Freeform: Shape 42">
              <a:extLst>
                <a:ext uri="{FF2B5EF4-FFF2-40B4-BE49-F238E27FC236}">
                  <a16:creationId xmlns:a16="http://schemas.microsoft.com/office/drawing/2014/main" id="{52E5A063-571D-4461-9869-B3E93F6E69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44" name="Freeform: Shape 43">
              <a:extLst>
                <a:ext uri="{FF2B5EF4-FFF2-40B4-BE49-F238E27FC236}">
                  <a16:creationId xmlns:a16="http://schemas.microsoft.com/office/drawing/2014/main" id="{366019AD-E33B-4DBF-BAD3-AE36116031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786385" y="841248"/>
            <a:ext cx="3515244" cy="5340097"/>
          </a:xfrm>
          <a:prstGeom prst="ellipse">
            <a:avLst/>
          </a:prstGeom>
        </p:spPr>
        <p:txBody>
          <a:bodyPr vert="horz" lIns="91440" tIns="45720" rIns="91440" bIns="45720" rtlCol="0" anchor="ctr">
            <a:normAutofit/>
          </a:bodyPr>
          <a:lstStyle/>
          <a:p>
            <a:r>
              <a:rPr lang="en-US" sz="3000" kern="1200" dirty="0" err="1">
                <a:solidFill>
                  <a:schemeClr val="bg1"/>
                </a:solidFill>
                <a:latin typeface="+mj-lt"/>
                <a:ea typeface="+mj-ea"/>
                <a:cs typeface="+mj-cs"/>
              </a:rPr>
              <a:t>Exemple</a:t>
            </a:r>
            <a:r>
              <a:rPr lang="en-US" sz="3000" kern="1200" dirty="0">
                <a:solidFill>
                  <a:schemeClr val="bg1"/>
                </a:solidFill>
                <a:latin typeface="+mj-lt"/>
                <a:ea typeface="+mj-ea"/>
                <a:cs typeface="+mj-cs"/>
              </a:rPr>
              <a:t> </a:t>
            </a:r>
            <a:r>
              <a:rPr lang="en-US" sz="3000" kern="1200" dirty="0" err="1">
                <a:solidFill>
                  <a:schemeClr val="bg1"/>
                </a:solidFill>
                <a:latin typeface="+mj-lt"/>
                <a:ea typeface="+mj-ea"/>
                <a:cs typeface="+mj-cs"/>
              </a:rPr>
              <a:t>d’application</a:t>
            </a:r>
            <a:r>
              <a:rPr lang="en-US" sz="3000" kern="1200" dirty="0">
                <a:solidFill>
                  <a:schemeClr val="bg1"/>
                </a:solidFill>
                <a:latin typeface="+mj-lt"/>
                <a:ea typeface="+mj-ea"/>
                <a:cs typeface="+mj-cs"/>
              </a:rPr>
              <a:t> des </a:t>
            </a:r>
            <a:r>
              <a:rPr lang="en-US" sz="3000" kern="1200" dirty="0" err="1">
                <a:solidFill>
                  <a:schemeClr val="bg1"/>
                </a:solidFill>
                <a:latin typeface="+mj-lt"/>
                <a:ea typeface="+mj-ea"/>
                <a:cs typeface="+mj-cs"/>
              </a:rPr>
              <a:t>normes</a:t>
            </a:r>
            <a:endParaRPr lang="en-US" sz="3000" kern="1200" dirty="0">
              <a:solidFill>
                <a:schemeClr val="bg1"/>
              </a:solidFill>
              <a:latin typeface="+mj-lt"/>
              <a:ea typeface="+mj-ea"/>
              <a:cs typeface="+mj-cs"/>
            </a:endParaRPr>
          </a:p>
        </p:txBody>
      </p:sp>
      <p:graphicFrame>
        <p:nvGraphicFramePr>
          <p:cNvPr id="25" name="ZoneTexte 2">
            <a:extLst>
              <a:ext uri="{FF2B5EF4-FFF2-40B4-BE49-F238E27FC236}">
                <a16:creationId xmlns:a16="http://schemas.microsoft.com/office/drawing/2014/main" id="{11DA98FA-EC79-439B-A908-FC5C8F4402CC}"/>
              </a:ext>
            </a:extLst>
          </p:cNvPr>
          <p:cNvGraphicFramePr/>
          <p:nvPr>
            <p:extLst>
              <p:ext uri="{D42A27DB-BD31-4B8C-83A1-F6EECF244321}">
                <p14:modId xmlns:p14="http://schemas.microsoft.com/office/powerpoint/2010/main" val="3191748825"/>
              </p:ext>
            </p:extLst>
          </p:nvPr>
        </p:nvGraphicFramePr>
        <p:xfrm>
          <a:off x="4985886" y="231006"/>
          <a:ext cx="6367913" cy="64056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090034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77" name="Rectangle 76">
            <a:extLst>
              <a:ext uri="{FF2B5EF4-FFF2-40B4-BE49-F238E27FC236}">
                <a16:creationId xmlns:a16="http://schemas.microsoft.com/office/drawing/2014/main" id="{8537B233-9CDD-4A90-AABB-A8963DEE4F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8153400" y="818457"/>
            <a:ext cx="3322317" cy="2975876"/>
          </a:xfrm>
          <a:prstGeom prst="ellipse">
            <a:avLst/>
          </a:prstGeom>
        </p:spPr>
        <p:txBody>
          <a:bodyPr vert="horz" lIns="91440" tIns="45720" rIns="91440" bIns="45720" rtlCol="0" anchor="b">
            <a:normAutofit/>
          </a:bodyPr>
          <a:lstStyle/>
          <a:p>
            <a:br>
              <a:rPr lang="en-US" sz="3100" kern="1200" dirty="0">
                <a:solidFill>
                  <a:schemeClr val="tx1"/>
                </a:solidFill>
                <a:latin typeface="+mj-lt"/>
                <a:ea typeface="+mj-ea"/>
                <a:cs typeface="+mj-cs"/>
              </a:rPr>
            </a:br>
            <a:endParaRPr lang="en-US" sz="3100" kern="1200" dirty="0">
              <a:solidFill>
                <a:schemeClr val="tx1"/>
              </a:solidFill>
              <a:latin typeface="+mj-lt"/>
              <a:ea typeface="+mj-ea"/>
              <a:cs typeface="+mj-cs"/>
            </a:endParaRPr>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t="21540" b="21540"/>
          <a:stretch/>
        </p:blipFill>
        <p:spPr>
          <a:xfrm>
            <a:off x="716280" y="2215808"/>
            <a:ext cx="5401937" cy="2036367"/>
          </a:xfrm>
          <a:prstGeom prst="rect">
            <a:avLst/>
          </a:prstGeom>
        </p:spPr>
      </p:pic>
      <p:cxnSp>
        <p:nvCxnSpPr>
          <p:cNvPr id="79" name="Straight Connector 78">
            <a:extLst>
              <a:ext uri="{FF2B5EF4-FFF2-40B4-BE49-F238E27FC236}">
                <a16:creationId xmlns:a16="http://schemas.microsoft.com/office/drawing/2014/main" id="{040575EE-C594-4566-BC00-663004E52AB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617861" y="1417320"/>
            <a:ext cx="0" cy="40233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 name="ZoneTexte 4">
            <a:extLst>
              <a:ext uri="{FF2B5EF4-FFF2-40B4-BE49-F238E27FC236}">
                <a16:creationId xmlns:a16="http://schemas.microsoft.com/office/drawing/2014/main" id="{DFEA2082-E7DE-4453-8158-54F380B94285}"/>
              </a:ext>
            </a:extLst>
          </p:cNvPr>
          <p:cNvSpPr txBox="1"/>
          <p:nvPr/>
        </p:nvSpPr>
        <p:spPr>
          <a:xfrm>
            <a:off x="8045042" y="1417320"/>
            <a:ext cx="3649777" cy="1138773"/>
          </a:xfrm>
          <a:prstGeom prst="rect">
            <a:avLst/>
          </a:prstGeom>
          <a:noFill/>
        </p:spPr>
        <p:txBody>
          <a:bodyPr wrap="square" rtlCol="0">
            <a:spAutoFit/>
          </a:bodyPr>
          <a:lstStyle/>
          <a:p>
            <a:r>
              <a:rPr lang="fr-FR" sz="3200" dirty="0">
                <a:latin typeface="Arial" panose="020B0604020202020204" pitchFamily="34" charset="0"/>
                <a:cs typeface="Arial" panose="020B0604020202020204" pitchFamily="34" charset="0"/>
              </a:rPr>
              <a:t>NPMQ</a:t>
            </a:r>
          </a:p>
          <a:p>
            <a:endParaRPr lang="fr-FR" dirty="0"/>
          </a:p>
          <a:p>
            <a:endParaRPr lang="fr-FR" dirty="0"/>
          </a:p>
        </p:txBody>
      </p:sp>
    </p:spTree>
    <p:extLst>
      <p:ext uri="{BB962C8B-B14F-4D97-AF65-F5344CB8AC3E}">
        <p14:creationId xmlns:p14="http://schemas.microsoft.com/office/powerpoint/2010/main" val="199886149"/>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alerie">
  <a:themeElements>
    <a:clrScheme name="Gallery">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Gallery">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lery">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3.xml><?xml version="1.0" encoding="utf-8"?>
<a:theme xmlns:a="http://schemas.openxmlformats.org/drawingml/2006/main" name="1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5</TotalTime>
  <Words>1954</Words>
  <Application>Microsoft Office PowerPoint</Application>
  <PresentationFormat>Grand écran</PresentationFormat>
  <Paragraphs>305</Paragraphs>
  <Slides>45</Slides>
  <Notes>39</Notes>
  <HiddenSlides>0</HiddenSlides>
  <MMClips>0</MMClips>
  <ScaleCrop>false</ScaleCrop>
  <HeadingPairs>
    <vt:vector size="6" baseType="variant">
      <vt:variant>
        <vt:lpstr>Polices utilisées</vt:lpstr>
      </vt:variant>
      <vt:variant>
        <vt:i4>7</vt:i4>
      </vt:variant>
      <vt:variant>
        <vt:lpstr>Thème</vt:lpstr>
      </vt:variant>
      <vt:variant>
        <vt:i4>3</vt:i4>
      </vt:variant>
      <vt:variant>
        <vt:lpstr>Titres des diapositives</vt:lpstr>
      </vt:variant>
      <vt:variant>
        <vt:i4>45</vt:i4>
      </vt:variant>
    </vt:vector>
  </HeadingPairs>
  <TitlesOfParts>
    <vt:vector size="55" baseType="lpstr">
      <vt:lpstr>Arial</vt:lpstr>
      <vt:lpstr>Calibri</vt:lpstr>
      <vt:lpstr>Calibri Light</vt:lpstr>
      <vt:lpstr>Gill Sans MT</vt:lpstr>
      <vt:lpstr>sourcesanspro</vt:lpstr>
      <vt:lpstr>Times New Roman</vt:lpstr>
      <vt:lpstr>Tw Cen MT</vt:lpstr>
      <vt:lpstr>Thème Office</vt:lpstr>
      <vt:lpstr>Galerie</vt:lpstr>
      <vt:lpstr>1_Thème Office</vt:lpstr>
      <vt:lpstr>Université de Montpellier </vt:lpstr>
      <vt:lpstr>Programme prévisionnel</vt:lpstr>
      <vt:lpstr>La comptabilité  : un cadre règlementaire</vt:lpstr>
      <vt:lpstr>Exercer la profession</vt:lpstr>
      <vt:lpstr>Quelle différence fondamentale existe-t-il entre la mission du CAC et de l’EC ?</vt:lpstr>
      <vt:lpstr>Présentation PowerPoint</vt:lpstr>
      <vt:lpstr>Quelles normes sont applicables ? Celle spécifique à la durée de la mission ? </vt:lpstr>
      <vt:lpstr>Exemple d’application des normes</vt:lpstr>
      <vt:lpstr> </vt:lpstr>
      <vt:lpstr>Présentation PowerPoint</vt:lpstr>
      <vt:lpstr>Présentation PowerPoint</vt:lpstr>
      <vt:lpstr> </vt:lpstr>
      <vt:lpstr>Présentation PowerPoint</vt:lpstr>
      <vt:lpstr>Présentation PowerPoint</vt:lpstr>
      <vt:lpstr> Ordonnance de 1945 </vt:lpstr>
      <vt:lpstr>Art 2 - Modifié par Ordonnance n°2016-394 du 31 mars 2016 - art. 8</vt:lpstr>
      <vt:lpstr>Art 2 - SUITE</vt:lpstr>
      <vt:lpstr> Ordonnance de 1945 </vt:lpstr>
      <vt:lpstr>Art 22 -</vt:lpstr>
      <vt:lpstr>Art 22 - suite</vt:lpstr>
      <vt:lpstr>Comptabilité – Son essence  </vt:lpstr>
      <vt:lpstr>La comptabilité  Rappel</vt:lpstr>
      <vt:lpstr>Présentation PowerPoint</vt:lpstr>
      <vt:lpstr>Présentation PowerPoint</vt:lpstr>
      <vt:lpstr> Le compte de résultat </vt:lpstr>
      <vt:lpstr>Rappel : deux types de comptabilisation</vt:lpstr>
      <vt:lpstr>Le compte de résultat</vt:lpstr>
      <vt:lpstr>Le compte de résultat</vt:lpstr>
      <vt:lpstr>Les charges – art 221-1 PCG</vt:lpstr>
      <vt:lpstr>Les Produits – Article 222-1 du PCG</vt:lpstr>
      <vt:lpstr>Le résultat – Article 230-1 du PCG</vt:lpstr>
      <vt:lpstr>En résumé</vt:lpstr>
      <vt:lpstr>Différence = Résultat  (benefice ou perte)</vt:lpstr>
      <vt:lpstr>Présentation PowerPoint</vt:lpstr>
      <vt:lpstr>Le compte de résultat – détail</vt:lpstr>
      <vt:lpstr>Les charges et les produits</vt:lpstr>
      <vt:lpstr>Recherchez dans le PCG – utilisez la liste abrégée</vt:lpstr>
      <vt:lpstr>Rechercher dans le PCG – utilisez la liste abrégée (6/7)</vt:lpstr>
      <vt:lpstr>Présentation PowerPoint</vt:lpstr>
      <vt:lpstr>Présentation PowerPoint</vt:lpstr>
      <vt:lpstr>Présentation PowerPoint</vt:lpstr>
      <vt:lpstr>Présentation PowerPoint</vt:lpstr>
      <vt:lpstr>Présentation PowerPoint</vt:lpstr>
      <vt:lpstr>Présentation PowerPoint</vt:lpstr>
      <vt:lpstr>Merc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mation Février 2021 ATHENA SECURITE</dc:title>
  <dc:creator>christophe CHUECOS-FONT</dc:creator>
  <cp:lastModifiedBy>christophe CHUECOS-FONT</cp:lastModifiedBy>
  <cp:revision>2</cp:revision>
  <dcterms:created xsi:type="dcterms:W3CDTF">2021-02-02T18:32:53Z</dcterms:created>
  <dcterms:modified xsi:type="dcterms:W3CDTF">2021-02-26T13:17:54Z</dcterms:modified>
</cp:coreProperties>
</file>